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4"/>
  </p:sldMasterIdLst>
  <p:notesMasterIdLst>
    <p:notesMasterId r:id="rId9"/>
  </p:notesMasterIdLst>
  <p:handoutMasterIdLst>
    <p:handoutMasterId r:id="rId10"/>
  </p:handoutMasterIdLst>
  <p:sldIdLst>
    <p:sldId id="319" r:id="rId5"/>
    <p:sldId id="323" r:id="rId6"/>
    <p:sldId id="320" r:id="rId7"/>
    <p:sldId id="322" r:id="rId8"/>
  </p:sldIdLst>
  <p:sldSz cx="11522075" cy="6480175"/>
  <p:notesSz cx="7099300" cy="10234613"/>
  <p:custDataLst>
    <p:tags r:id="rId11"/>
  </p:custDataLst>
  <p:defaultTextStyle>
    <a:defPPr>
      <a:defRPr lang="de-DE"/>
    </a:defPPr>
    <a:lvl1pPr algn="l" defTabSz="457200" rtl="0" eaLnBrk="0" fontAlgn="base" hangingPunct="0">
      <a:spcBef>
        <a:spcPct val="0"/>
      </a:spcBef>
      <a:spcAft>
        <a:spcPct val="0"/>
      </a:spcAft>
      <a:defRPr sz="2300" kern="1200">
        <a:solidFill>
          <a:schemeClr val="bg1"/>
        </a:solidFill>
        <a:latin typeface="Tele-GroteskFet" pitchFamily="2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sz="2300" kern="1200">
        <a:solidFill>
          <a:schemeClr val="bg1"/>
        </a:solidFill>
        <a:latin typeface="Tele-GroteskFet" pitchFamily="2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sz="2300" kern="1200">
        <a:solidFill>
          <a:schemeClr val="bg1"/>
        </a:solidFill>
        <a:latin typeface="Tele-GroteskFet" pitchFamily="2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sz="2300" kern="1200">
        <a:solidFill>
          <a:schemeClr val="bg1"/>
        </a:solidFill>
        <a:latin typeface="Tele-GroteskFet" pitchFamily="2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sz="2300" kern="1200">
        <a:solidFill>
          <a:schemeClr val="bg1"/>
        </a:solidFill>
        <a:latin typeface="Tele-GroteskFet" pitchFamily="2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2300" kern="1200">
        <a:solidFill>
          <a:schemeClr val="bg1"/>
        </a:solidFill>
        <a:latin typeface="Tele-GroteskFet" pitchFamily="2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sz="2300" kern="1200">
        <a:solidFill>
          <a:schemeClr val="bg1"/>
        </a:solidFill>
        <a:latin typeface="Tele-GroteskFet" pitchFamily="2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sz="2300" kern="1200">
        <a:solidFill>
          <a:schemeClr val="bg1"/>
        </a:solidFill>
        <a:latin typeface="Tele-GroteskFet" pitchFamily="2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sz="2300" kern="1200">
        <a:solidFill>
          <a:schemeClr val="bg1"/>
        </a:solidFill>
        <a:latin typeface="Tele-GroteskFet" pitchFamily="2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05">
          <p15:clr>
            <a:srgbClr val="A4A3A4"/>
          </p15:clr>
        </p15:guide>
        <p15:guide id="2" orient="horz" pos="798">
          <p15:clr>
            <a:srgbClr val="A4A3A4"/>
          </p15:clr>
        </p15:guide>
        <p15:guide id="3" orient="horz" pos="1055">
          <p15:clr>
            <a:srgbClr val="A4A3A4"/>
          </p15:clr>
        </p15:guide>
        <p15:guide id="4" orient="horz" pos="3723">
          <p15:clr>
            <a:srgbClr val="A4A3A4"/>
          </p15:clr>
        </p15:guide>
        <p15:guide id="5" orient="horz" pos="3267">
          <p15:clr>
            <a:srgbClr val="A4A3A4"/>
          </p15:clr>
        </p15:guide>
        <p15:guide id="6" orient="horz" pos="2265">
          <p15:clr>
            <a:srgbClr val="A4A3A4"/>
          </p15:clr>
        </p15:guide>
        <p15:guide id="7" orient="horz" pos="3495">
          <p15:clr>
            <a:srgbClr val="A4A3A4"/>
          </p15:clr>
        </p15:guide>
        <p15:guide id="8" orient="horz" pos="3878">
          <p15:clr>
            <a:srgbClr val="A4A3A4"/>
          </p15:clr>
        </p15:guide>
        <p15:guide id="9" pos="3684">
          <p15:clr>
            <a:srgbClr val="A4A3A4"/>
          </p15:clr>
        </p15:guide>
        <p15:guide id="10" pos="208">
          <p15:clr>
            <a:srgbClr val="A4A3A4"/>
          </p15:clr>
        </p15:guide>
        <p15:guide id="11" pos="7051">
          <p15:clr>
            <a:srgbClr val="A4A3A4"/>
          </p15:clr>
        </p15:guide>
        <p15:guide id="12" pos="35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áczy Blanka" initials="VB" lastIdx="1" clrIdx="0">
    <p:extLst>
      <p:ext uri="{19B8F6BF-5375-455C-9EA6-DF929625EA0E}">
        <p15:presenceInfo xmlns:p15="http://schemas.microsoft.com/office/powerpoint/2012/main" userId="S::vaczy.blanka@t-systems.hu::0ab291dd-0944-41d4-bc88-27aa45d002e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6FF"/>
    <a:srgbClr val="41631B"/>
    <a:srgbClr val="AEAEAE"/>
    <a:srgbClr val="C5C5C5"/>
    <a:srgbClr val="A4A4A4"/>
    <a:srgbClr val="646464"/>
    <a:srgbClr val="7C7C7C"/>
    <a:srgbClr val="A5A5A5"/>
    <a:srgbClr val="D0D0D0"/>
    <a:srgbClr val="33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A1EB13D-3414-45FA-A1A3-68CEB5131F89}" v="32" dt="2022-06-03T12:42:44.014"/>
  </p1510:revLst>
</p1510:revInfo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83750" autoAdjust="0"/>
  </p:normalViewPr>
  <p:slideViewPr>
    <p:cSldViewPr snapToGrid="0" snapToObjects="1">
      <p:cViewPr varScale="1">
        <p:scale>
          <a:sx n="89" d="100"/>
          <a:sy n="89" d="100"/>
        </p:scale>
        <p:origin x="752" y="60"/>
      </p:cViewPr>
      <p:guideLst>
        <p:guide orient="horz" pos="205"/>
        <p:guide orient="horz" pos="798"/>
        <p:guide orient="horz" pos="1055"/>
        <p:guide orient="horz" pos="3723"/>
        <p:guide orient="horz" pos="3267"/>
        <p:guide orient="horz" pos="2265"/>
        <p:guide orient="horz" pos="3495"/>
        <p:guide orient="horz" pos="3878"/>
        <p:guide pos="3684"/>
        <p:guide pos="208"/>
        <p:guide pos="7051"/>
        <p:guide pos="357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47" d="100"/>
          <a:sy n="47" d="100"/>
        </p:scale>
        <p:origin x="1896" y="68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314950" y="9647238"/>
            <a:ext cx="11509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01.10.2012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608763" y="9647238"/>
            <a:ext cx="4905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defRPr sz="12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>
              <a:defRPr/>
            </a:pPr>
            <a:fld id="{69B25344-A2AF-4404-9584-C3E45753BBB9}" type="slidenum">
              <a:rPr lang="de-DE" altLang="hu-HU"/>
              <a:pPr>
                <a:defRPr/>
              </a:pPr>
              <a:t>‹#›</a:t>
            </a:fld>
            <a:endParaRPr lang="de-DE" altLang="hu-HU"/>
          </a:p>
        </p:txBody>
      </p:sp>
      <p:grpSp>
        <p:nvGrpSpPr>
          <p:cNvPr id="5125" name="Gruppieren 31"/>
          <p:cNvGrpSpPr>
            <a:grpSpLocks noChangeAspect="1"/>
          </p:cNvGrpSpPr>
          <p:nvPr/>
        </p:nvGrpSpPr>
        <p:grpSpPr bwMode="auto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5126" name="Freeform 9"/>
            <p:cNvSpPr>
              <a:spLocks noChangeAspect="1" noEditPoints="1"/>
            </p:cNvSpPr>
            <p:nvPr userDrawn="1"/>
          </p:nvSpPr>
          <p:spPr bwMode="auto">
            <a:xfrm>
              <a:off x="7307384" y="6310141"/>
              <a:ext cx="1512766" cy="121615"/>
            </a:xfrm>
            <a:custGeom>
              <a:avLst/>
              <a:gdLst>
                <a:gd name="T0" fmla="*/ 2147483646 w 5644"/>
                <a:gd name="T1" fmla="*/ 2147483646 h 419"/>
                <a:gd name="T2" fmla="*/ 2147483646 w 5644"/>
                <a:gd name="T3" fmla="*/ 2147483646 h 419"/>
                <a:gd name="T4" fmla="*/ 2147483646 w 5644"/>
                <a:gd name="T5" fmla="*/ 2147483646 h 419"/>
                <a:gd name="T6" fmla="*/ 2147483646 w 5644"/>
                <a:gd name="T7" fmla="*/ 2147483646 h 419"/>
                <a:gd name="T8" fmla="*/ 2147483646 w 5644"/>
                <a:gd name="T9" fmla="*/ 2147483646 h 419"/>
                <a:gd name="T10" fmla="*/ 2147483646 w 5644"/>
                <a:gd name="T11" fmla="*/ 2147483646 h 419"/>
                <a:gd name="T12" fmla="*/ 2147483646 w 5644"/>
                <a:gd name="T13" fmla="*/ 2147483646 h 419"/>
                <a:gd name="T14" fmla="*/ 2147483646 w 5644"/>
                <a:gd name="T15" fmla="*/ 2147483646 h 419"/>
                <a:gd name="T16" fmla="*/ 2147483646 w 5644"/>
                <a:gd name="T17" fmla="*/ 2147483646 h 419"/>
                <a:gd name="T18" fmla="*/ 2147483646 w 5644"/>
                <a:gd name="T19" fmla="*/ 2147483646 h 419"/>
                <a:gd name="T20" fmla="*/ 2147483646 w 5644"/>
                <a:gd name="T21" fmla="*/ 2147483646 h 419"/>
                <a:gd name="T22" fmla="*/ 2147483646 w 5644"/>
                <a:gd name="T23" fmla="*/ 2147483646 h 419"/>
                <a:gd name="T24" fmla="*/ 2147483646 w 5644"/>
                <a:gd name="T25" fmla="*/ 2147483646 h 419"/>
                <a:gd name="T26" fmla="*/ 2147483646 w 5644"/>
                <a:gd name="T27" fmla="*/ 2147483646 h 419"/>
                <a:gd name="T28" fmla="*/ 2147483646 w 5644"/>
                <a:gd name="T29" fmla="*/ 2147483646 h 419"/>
                <a:gd name="T30" fmla="*/ 2147483646 w 5644"/>
                <a:gd name="T31" fmla="*/ 2147483646 h 419"/>
                <a:gd name="T32" fmla="*/ 2147483646 w 5644"/>
                <a:gd name="T33" fmla="*/ 2147483646 h 419"/>
                <a:gd name="T34" fmla="*/ 2147483646 w 5644"/>
                <a:gd name="T35" fmla="*/ 2147483646 h 419"/>
                <a:gd name="T36" fmla="*/ 2147483646 w 5644"/>
                <a:gd name="T37" fmla="*/ 2147483646 h 419"/>
                <a:gd name="T38" fmla="*/ 2147483646 w 5644"/>
                <a:gd name="T39" fmla="*/ 2147483646 h 419"/>
                <a:gd name="T40" fmla="*/ 2147483646 w 5644"/>
                <a:gd name="T41" fmla="*/ 2147483646 h 419"/>
                <a:gd name="T42" fmla="*/ 2147483646 w 5644"/>
                <a:gd name="T43" fmla="*/ 2147483646 h 419"/>
                <a:gd name="T44" fmla="*/ 2147483646 w 5644"/>
                <a:gd name="T45" fmla="*/ 2147483646 h 419"/>
                <a:gd name="T46" fmla="*/ 2147483646 w 5644"/>
                <a:gd name="T47" fmla="*/ 2147483646 h 419"/>
                <a:gd name="T48" fmla="*/ 2147483646 w 5644"/>
                <a:gd name="T49" fmla="*/ 2147483646 h 419"/>
                <a:gd name="T50" fmla="*/ 2147483646 w 5644"/>
                <a:gd name="T51" fmla="*/ 2147483646 h 419"/>
                <a:gd name="T52" fmla="*/ 2147483646 w 5644"/>
                <a:gd name="T53" fmla="*/ 2147483646 h 419"/>
                <a:gd name="T54" fmla="*/ 2147483646 w 5644"/>
                <a:gd name="T55" fmla="*/ 2147483646 h 419"/>
                <a:gd name="T56" fmla="*/ 2147483646 w 5644"/>
                <a:gd name="T57" fmla="*/ 2147483646 h 419"/>
                <a:gd name="T58" fmla="*/ 2147483646 w 5644"/>
                <a:gd name="T59" fmla="*/ 2147483646 h 419"/>
                <a:gd name="T60" fmla="*/ 2147483646 w 5644"/>
                <a:gd name="T61" fmla="*/ 2147483646 h 419"/>
                <a:gd name="T62" fmla="*/ 2147483646 w 5644"/>
                <a:gd name="T63" fmla="*/ 2147483646 h 419"/>
                <a:gd name="T64" fmla="*/ 2147483646 w 5644"/>
                <a:gd name="T65" fmla="*/ 2147483646 h 419"/>
                <a:gd name="T66" fmla="*/ 2147483646 w 5644"/>
                <a:gd name="T67" fmla="*/ 2147483646 h 419"/>
                <a:gd name="T68" fmla="*/ 2147483646 w 5644"/>
                <a:gd name="T69" fmla="*/ 2147483646 h 419"/>
                <a:gd name="T70" fmla="*/ 2147483646 w 5644"/>
                <a:gd name="T71" fmla="*/ 2147483646 h 419"/>
                <a:gd name="T72" fmla="*/ 2147483646 w 5644"/>
                <a:gd name="T73" fmla="*/ 2147483646 h 419"/>
                <a:gd name="T74" fmla="*/ 2147483646 w 5644"/>
                <a:gd name="T75" fmla="*/ 2147483646 h 419"/>
                <a:gd name="T76" fmla="*/ 2147483646 w 5644"/>
                <a:gd name="T77" fmla="*/ 2147483646 h 419"/>
                <a:gd name="T78" fmla="*/ 2147483646 w 5644"/>
                <a:gd name="T79" fmla="*/ 2147483646 h 419"/>
                <a:gd name="T80" fmla="*/ 2147483646 w 5644"/>
                <a:gd name="T81" fmla="*/ 2147483646 h 419"/>
                <a:gd name="T82" fmla="*/ 2147483646 w 5644"/>
                <a:gd name="T83" fmla="*/ 2147483646 h 419"/>
                <a:gd name="T84" fmla="*/ 2147483646 w 5644"/>
                <a:gd name="T85" fmla="*/ 2147483646 h 419"/>
                <a:gd name="T86" fmla="*/ 2147483646 w 5644"/>
                <a:gd name="T87" fmla="*/ 2147483646 h 419"/>
                <a:gd name="T88" fmla="*/ 2147483646 w 5644"/>
                <a:gd name="T89" fmla="*/ 2147483646 h 419"/>
                <a:gd name="T90" fmla="*/ 2147483646 w 5644"/>
                <a:gd name="T91" fmla="*/ 2147483646 h 419"/>
                <a:gd name="T92" fmla="*/ 2147483646 w 5644"/>
                <a:gd name="T93" fmla="*/ 2147483646 h 419"/>
                <a:gd name="T94" fmla="*/ 2147483646 w 5644"/>
                <a:gd name="T95" fmla="*/ 2147483646 h 419"/>
                <a:gd name="T96" fmla="*/ 2147483646 w 5644"/>
                <a:gd name="T97" fmla="*/ 2147483646 h 419"/>
                <a:gd name="T98" fmla="*/ 2147483646 w 5644"/>
                <a:gd name="T99" fmla="*/ 2147483646 h 419"/>
                <a:gd name="T100" fmla="*/ 2147483646 w 5644"/>
                <a:gd name="T101" fmla="*/ 2147483646 h 419"/>
                <a:gd name="T102" fmla="*/ 2147483646 w 5644"/>
                <a:gd name="T103" fmla="*/ 2147483646 h 419"/>
                <a:gd name="T104" fmla="*/ 2147483646 w 5644"/>
                <a:gd name="T105" fmla="*/ 2147483646 h 419"/>
                <a:gd name="T106" fmla="*/ 2147483646 w 5644"/>
                <a:gd name="T107" fmla="*/ 2147483646 h 419"/>
                <a:gd name="T108" fmla="*/ 2147483646 w 5644"/>
                <a:gd name="T109" fmla="*/ 2147483646 h 419"/>
                <a:gd name="T110" fmla="*/ 2147483646 w 5644"/>
                <a:gd name="T111" fmla="*/ 2147483646 h 419"/>
                <a:gd name="T112" fmla="*/ 2147483646 w 5644"/>
                <a:gd name="T113" fmla="*/ 2147483646 h 419"/>
                <a:gd name="T114" fmla="*/ 2147483646 w 5644"/>
                <a:gd name="T115" fmla="*/ 2147483646 h 419"/>
                <a:gd name="T116" fmla="*/ 2147483646 w 5644"/>
                <a:gd name="T117" fmla="*/ 2147483646 h 419"/>
                <a:gd name="T118" fmla="*/ 2147483646 w 5644"/>
                <a:gd name="T119" fmla="*/ 2147483646 h 419"/>
                <a:gd name="T120" fmla="*/ 2147483646 w 5644"/>
                <a:gd name="T121" fmla="*/ 2147483646 h 419"/>
                <a:gd name="T122" fmla="*/ 2147483646 w 5644"/>
                <a:gd name="T123" fmla="*/ 2147483646 h 419"/>
                <a:gd name="T124" fmla="*/ 2147483646 w 5644"/>
                <a:gd name="T125" fmla="*/ 2147483646 h 41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  <p:sp>
          <p:nvSpPr>
            <p:cNvPr id="5127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793" cy="371475"/>
            </a:xfrm>
            <a:custGeom>
              <a:avLst/>
              <a:gdLst>
                <a:gd name="T0" fmla="*/ 2147483646 w 2731"/>
                <a:gd name="T1" fmla="*/ 2147483646 h 1313"/>
                <a:gd name="T2" fmla="*/ 2147483646 w 2731"/>
                <a:gd name="T3" fmla="*/ 2147483646 h 1313"/>
                <a:gd name="T4" fmla="*/ 2147483646 w 2731"/>
                <a:gd name="T5" fmla="*/ 2147483646 h 1313"/>
                <a:gd name="T6" fmla="*/ 2147483646 w 2731"/>
                <a:gd name="T7" fmla="*/ 2147483646 h 1313"/>
                <a:gd name="T8" fmla="*/ 2147483646 w 2731"/>
                <a:gd name="T9" fmla="*/ 2147483646 h 1313"/>
                <a:gd name="T10" fmla="*/ 2147483646 w 2731"/>
                <a:gd name="T11" fmla="*/ 2147483646 h 1313"/>
                <a:gd name="T12" fmla="*/ 2147483646 w 2731"/>
                <a:gd name="T13" fmla="*/ 2147483646 h 1313"/>
                <a:gd name="T14" fmla="*/ 2147483646 w 2731"/>
                <a:gd name="T15" fmla="*/ 2147483646 h 1313"/>
                <a:gd name="T16" fmla="*/ 2147483646 w 2731"/>
                <a:gd name="T17" fmla="*/ 2147483646 h 1313"/>
                <a:gd name="T18" fmla="*/ 2147483646 w 2731"/>
                <a:gd name="T19" fmla="*/ 2147483646 h 1313"/>
                <a:gd name="T20" fmla="*/ 2147483646 w 2731"/>
                <a:gd name="T21" fmla="*/ 2147483646 h 1313"/>
                <a:gd name="T22" fmla="*/ 2147483646 w 2731"/>
                <a:gd name="T23" fmla="*/ 2147483646 h 1313"/>
                <a:gd name="T24" fmla="*/ 2147483646 w 2731"/>
                <a:gd name="T25" fmla="*/ 2147483646 h 1313"/>
                <a:gd name="T26" fmla="*/ 2147483646 w 2731"/>
                <a:gd name="T27" fmla="*/ 2147483646 h 1313"/>
                <a:gd name="T28" fmla="*/ 2147483646 w 2731"/>
                <a:gd name="T29" fmla="*/ 2147483646 h 1313"/>
                <a:gd name="T30" fmla="*/ 2147483646 w 2731"/>
                <a:gd name="T31" fmla="*/ 2147483646 h 1313"/>
                <a:gd name="T32" fmla="*/ 2147483646 w 2731"/>
                <a:gd name="T33" fmla="*/ 2147483646 h 1313"/>
                <a:gd name="T34" fmla="*/ 2147483646 w 2731"/>
                <a:gd name="T35" fmla="*/ 2147483646 h 1313"/>
                <a:gd name="T36" fmla="*/ 0 w 2731"/>
                <a:gd name="T37" fmla="*/ 2147483646 h 1313"/>
                <a:gd name="T38" fmla="*/ 2147483646 w 2731"/>
                <a:gd name="T39" fmla="*/ 0 h 1313"/>
                <a:gd name="T40" fmla="*/ 2147483646 w 2731"/>
                <a:gd name="T41" fmla="*/ 0 h 1313"/>
                <a:gd name="T42" fmla="*/ 2147483646 w 2731"/>
                <a:gd name="T43" fmla="*/ 2147483646 h 1313"/>
                <a:gd name="T44" fmla="*/ 2147483646 w 2731"/>
                <a:gd name="T45" fmla="*/ 2147483646 h 1313"/>
                <a:gd name="T46" fmla="*/ 2147483646 w 2731"/>
                <a:gd name="T47" fmla="*/ 2147483646 h 1313"/>
                <a:gd name="T48" fmla="*/ 2147483646 w 2731"/>
                <a:gd name="T49" fmla="*/ 2147483646 h 1313"/>
                <a:gd name="T50" fmla="*/ 2147483646 w 2731"/>
                <a:gd name="T51" fmla="*/ 2147483646 h 1313"/>
                <a:gd name="T52" fmla="*/ 2147483646 w 2731"/>
                <a:gd name="T53" fmla="*/ 2147483646 h 1313"/>
                <a:gd name="T54" fmla="*/ 2147483646 w 2731"/>
                <a:gd name="T55" fmla="*/ 2147483646 h 1313"/>
                <a:gd name="T56" fmla="*/ 2147483646 w 2731"/>
                <a:gd name="T57" fmla="*/ 2147483646 h 1313"/>
                <a:gd name="T58" fmla="*/ 2147483646 w 2731"/>
                <a:gd name="T59" fmla="*/ 2147483646 h 1313"/>
                <a:gd name="T60" fmla="*/ 2147483646 w 2731"/>
                <a:gd name="T61" fmla="*/ 2147483646 h 1313"/>
                <a:gd name="T62" fmla="*/ 2147483646 w 2731"/>
                <a:gd name="T63" fmla="*/ 2147483646 h 1313"/>
                <a:gd name="T64" fmla="*/ 2147483646 w 2731"/>
                <a:gd name="T65" fmla="*/ 2147483646 h 1313"/>
                <a:gd name="T66" fmla="*/ 2147483646 w 2731"/>
                <a:gd name="T67" fmla="*/ 2147483646 h 1313"/>
                <a:gd name="T68" fmla="*/ 2147483646 w 2731"/>
                <a:gd name="T69" fmla="*/ 2147483646 h 1313"/>
                <a:gd name="T70" fmla="*/ 2147483646 w 2731"/>
                <a:gd name="T71" fmla="*/ 2147483646 h 1313"/>
                <a:gd name="T72" fmla="*/ 2147483646 w 2731"/>
                <a:gd name="T73" fmla="*/ 2147483646 h 1313"/>
                <a:gd name="T74" fmla="*/ 2147483646 w 2731"/>
                <a:gd name="T75" fmla="*/ 2147483646 h 1313"/>
                <a:gd name="T76" fmla="*/ 2147483646 w 2731"/>
                <a:gd name="T77" fmla="*/ 2147483646 h 1313"/>
                <a:gd name="T78" fmla="*/ 2147483646 w 2731"/>
                <a:gd name="T79" fmla="*/ 2147483646 h 1313"/>
                <a:gd name="T80" fmla="*/ 2147483646 w 2731"/>
                <a:gd name="T81" fmla="*/ 2147483646 h 131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tags" Target="../tags/tag22.xml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41338" y="1012825"/>
            <a:ext cx="8151813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314950" y="9647238"/>
            <a:ext cx="11509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01.10.2012</a:t>
            </a: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608763" y="9647238"/>
            <a:ext cx="4905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defRPr sz="12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>
              <a:defRPr/>
            </a:pPr>
            <a:fld id="{C617CCA9-9C6D-4D74-A2E4-7A527AF1CF6E}" type="slidenum">
              <a:rPr lang="de-DE" altLang="hu-HU"/>
              <a:pPr>
                <a:defRPr/>
              </a:pPr>
              <a:t>‹#›</a:t>
            </a:fld>
            <a:endParaRPr lang="de-DE" altLang="hu-HU"/>
          </a:p>
        </p:txBody>
      </p:sp>
      <p:pic>
        <p:nvPicPr>
          <p:cNvPr id="4103" name="Picture 10" descr="TSY_Logo_3c_p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538" y="169863"/>
            <a:ext cx="1849437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eaLnBrk="0" fontAlgn="base" hangingPunct="0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98450" indent="-155575" algn="l" defTabSz="457200" rtl="0" eaLnBrk="0" fontAlgn="base" hangingPunct="0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92125" indent="-192088" algn="l" defTabSz="457200" rtl="0" eaLnBrk="0" fontAlgn="base" hangingPunct="0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69925" indent="-176213" algn="l" defTabSz="457200" rtl="0" eaLnBrk="0" fontAlgn="base" hangingPunct="0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876300" indent="-204788" algn="l" defTabSz="457200" rtl="0" eaLnBrk="0" fontAlgn="base" hangingPunct="0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átum helye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01.10.2012</a:t>
            </a: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17CCA9-9C6D-4D74-A2E4-7A527AF1CF6E}" type="slidenum">
              <a:rPr lang="de-DE" altLang="hu-HU" smtClean="0"/>
              <a:pPr>
                <a:defRPr/>
              </a:pPr>
              <a:t>2</a:t>
            </a:fld>
            <a:endParaRPr lang="de-DE" altLang="hu-HU"/>
          </a:p>
        </p:txBody>
      </p:sp>
    </p:spTree>
    <p:extLst>
      <p:ext uri="{BB962C8B-B14F-4D97-AF65-F5344CB8AC3E}">
        <p14:creationId xmlns:p14="http://schemas.microsoft.com/office/powerpoint/2010/main" val="28168391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Itt a szövegeket jó lenne magyarítani, ha megoldható, kivéve az alcímet, mert az szerintem frappáns így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01.10.2012</a:t>
            </a: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17CCA9-9C6D-4D74-A2E4-7A527AF1CF6E}" type="slidenum">
              <a:rPr lang="de-DE" altLang="hu-HU" smtClean="0"/>
              <a:pPr>
                <a:defRPr/>
              </a:pPr>
              <a:t>3</a:t>
            </a:fld>
            <a:endParaRPr lang="de-DE" altLang="hu-HU"/>
          </a:p>
        </p:txBody>
      </p:sp>
    </p:spTree>
    <p:extLst>
      <p:ext uri="{BB962C8B-B14F-4D97-AF65-F5344CB8AC3E}">
        <p14:creationId xmlns:p14="http://schemas.microsoft.com/office/powerpoint/2010/main" val="16342039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átum helye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01.10.2012</a:t>
            </a: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17CCA9-9C6D-4D74-A2E4-7A527AF1CF6E}" type="slidenum">
              <a:rPr lang="de-DE" altLang="hu-HU" smtClean="0"/>
              <a:pPr>
                <a:defRPr/>
              </a:pPr>
              <a:t>4</a:t>
            </a:fld>
            <a:endParaRPr lang="de-DE" altLang="hu-HU"/>
          </a:p>
        </p:txBody>
      </p:sp>
    </p:spTree>
    <p:extLst>
      <p:ext uri="{BB962C8B-B14F-4D97-AF65-F5344CB8AC3E}">
        <p14:creationId xmlns:p14="http://schemas.microsoft.com/office/powerpoint/2010/main" val="3259721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8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2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3" descr="TSY_Logo_3c_n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5646738"/>
            <a:ext cx="3468688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>
          <a:xfrm>
            <a:off x="304800" y="1674813"/>
            <a:ext cx="10869613" cy="1389062"/>
          </a:xfrm>
        </p:spPr>
        <p:txBody>
          <a:bodyPr/>
          <a:lstStyle>
            <a:lvl1pPr>
              <a:defRPr sz="7200" smtClean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>
          <a:xfrm>
            <a:off x="304800" y="3667125"/>
            <a:ext cx="10869613" cy="357188"/>
          </a:xfrm>
        </p:spPr>
        <p:txBody>
          <a:bodyPr>
            <a:spAutoFit/>
          </a:bodyPr>
          <a:lstStyle>
            <a:lvl1pPr>
              <a:defRPr sz="26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37251185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6A6D35-0B05-4456-8828-74C991F45660}" type="datetime1">
              <a:rPr lang="en-US"/>
              <a:pPr>
                <a:defRPr/>
              </a:pPr>
              <a:t>6/3/2022</a:t>
            </a:fld>
            <a:endParaRPr lang="en-US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– strictly confidential, confidential, internal, public –</a:t>
            </a: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7459AC-0EDC-4DDB-8250-9FF34781699F}" type="slidenum">
              <a:rPr lang="en-US" altLang="hu-HU"/>
              <a:pPr>
                <a:defRPr/>
              </a:pPr>
              <a:t>‹#›</a:t>
            </a:fld>
            <a:endParaRPr lang="en-US" altLang="hu-HU"/>
          </a:p>
        </p:txBody>
      </p:sp>
    </p:spTree>
    <p:extLst>
      <p:ext uri="{BB962C8B-B14F-4D97-AF65-F5344CB8AC3E}">
        <p14:creationId xmlns:p14="http://schemas.microsoft.com/office/powerpoint/2010/main" val="3593795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14325"/>
            <a:ext cx="10863263" cy="5032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674813"/>
            <a:ext cx="10869613" cy="3887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3BE6DB-5092-494B-9E7D-69A689934279}" type="slidenum">
              <a:rPr lang="en-US" altLang="hu-HU"/>
              <a:pPr>
                <a:defRPr/>
              </a:pPr>
              <a:t>‹#›</a:t>
            </a:fld>
            <a:endParaRPr lang="en-US" altLang="hu-HU"/>
          </a:p>
        </p:txBody>
      </p:sp>
    </p:spTree>
    <p:extLst>
      <p:ext uri="{BB962C8B-B14F-4D97-AF65-F5344CB8AC3E}">
        <p14:creationId xmlns:p14="http://schemas.microsoft.com/office/powerpoint/2010/main" val="25414027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14325"/>
            <a:ext cx="10863263" cy="5032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835C11-5BE4-4384-ACF4-98F4589788A2}" type="datetime1">
              <a:rPr lang="en-US"/>
              <a:pPr>
                <a:defRPr/>
              </a:pPr>
              <a:t>6/3/2022</a:t>
            </a:fld>
            <a:endParaRPr lang="en-US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– strictly confidential, confidential, internal, public –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57DC8C-9788-43E6-9A8D-C16C69FC4CA9}" type="slidenum">
              <a:rPr lang="en-US" altLang="hu-HU"/>
              <a:pPr>
                <a:defRPr/>
              </a:pPr>
              <a:t>‹#›</a:t>
            </a:fld>
            <a:endParaRPr lang="en-US" altLang="hu-HU"/>
          </a:p>
        </p:txBody>
      </p:sp>
    </p:spTree>
    <p:extLst>
      <p:ext uri="{BB962C8B-B14F-4D97-AF65-F5344CB8AC3E}">
        <p14:creationId xmlns:p14="http://schemas.microsoft.com/office/powerpoint/2010/main" val="37187933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14325"/>
            <a:ext cx="10863263" cy="5032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674813"/>
            <a:ext cx="5357813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15013" y="1674813"/>
            <a:ext cx="5359400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613A97-810F-4310-B765-15E14463A967}" type="datetime1">
              <a:rPr lang="en-US"/>
              <a:pPr>
                <a:defRPr/>
              </a:pPr>
              <a:t>6/3/2022</a:t>
            </a:fld>
            <a:endParaRPr lang="en-US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– strictly confidential, confidential, internal, public –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6E90EB-2B69-416E-8D6F-71644AE9BDCD}" type="slidenum">
              <a:rPr lang="en-US" altLang="hu-HU"/>
              <a:pPr>
                <a:defRPr/>
              </a:pPr>
              <a:t>‹#›</a:t>
            </a:fld>
            <a:endParaRPr lang="en-US" altLang="hu-HU"/>
          </a:p>
        </p:txBody>
      </p:sp>
    </p:spTree>
    <p:extLst>
      <p:ext uri="{BB962C8B-B14F-4D97-AF65-F5344CB8AC3E}">
        <p14:creationId xmlns:p14="http://schemas.microsoft.com/office/powerpoint/2010/main" val="17599641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ide divider texture 1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3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1588" y="1588"/>
            <a:ext cx="3175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2" hidden="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1588" y="1588"/>
            <a:ext cx="3175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2" hidden="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1588" y="1588"/>
            <a:ext cx="3175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21" descr="TSY_Logo_3c_p.emf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23850" y="5568950"/>
            <a:ext cx="3606800" cy="655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el 5"/>
          <p:cNvSpPr>
            <a:spLocks noGrp="1"/>
          </p:cNvSpPr>
          <p:nvPr>
            <p:ph type="title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24299328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6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g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3" hidden="1"/>
          <p:cNvPicPr>
            <a:picLocks noChangeArrowheads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3175" cy="3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elplatzhalt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 bwMode="gray">
          <a:xfrm>
            <a:off x="304800" y="314325"/>
            <a:ext cx="10863263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hu-HU"/>
              <a:t>MASTERTITELFORMAT BEARBEITEN</a:t>
            </a:r>
          </a:p>
        </p:txBody>
      </p:sp>
      <p:sp>
        <p:nvSpPr>
          <p:cNvPr id="1028" name="Textplatzhalt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 bwMode="gray">
          <a:xfrm>
            <a:off x="304800" y="1674813"/>
            <a:ext cx="10869613" cy="388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hu-HU"/>
              <a:t>Mastertextformat bearbeiten</a:t>
            </a:r>
          </a:p>
          <a:p>
            <a:pPr lvl="1"/>
            <a:r>
              <a:rPr lang="en-US" altLang="hu-HU"/>
              <a:t>Zweite Ebene</a:t>
            </a:r>
          </a:p>
          <a:p>
            <a:pPr lvl="2"/>
            <a:r>
              <a:rPr lang="en-US" altLang="hu-HU"/>
              <a:t>Dritte Ebene</a:t>
            </a:r>
          </a:p>
          <a:p>
            <a:pPr lvl="3"/>
            <a:r>
              <a:rPr lang="en-US" altLang="hu-HU"/>
              <a:t>Vierte Ebene</a:t>
            </a:r>
          </a:p>
          <a:p>
            <a:pPr lvl="4"/>
            <a:r>
              <a:rPr lang="en-US" altLang="hu-HU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1"/>
            </p:custDataLst>
          </p:nvPr>
        </p:nvSpPr>
        <p:spPr bwMode="gray">
          <a:xfrm>
            <a:off x="8647113" y="5957888"/>
            <a:ext cx="2268537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lnSpc>
                <a:spcPct val="100000"/>
              </a:lnSpc>
              <a:spcBef>
                <a:spcPct val="0"/>
              </a:spcBef>
              <a:defRPr sz="1100">
                <a:solidFill>
                  <a:schemeClr val="tx1"/>
                </a:solidFill>
                <a:latin typeface="Tele-GroteskNor" pitchFamily="2" charset="0"/>
                <a:cs typeface="Arial" charset="0"/>
              </a:defRPr>
            </a:lvl1pPr>
          </a:lstStyle>
          <a:p>
            <a:pPr>
              <a:defRPr/>
            </a:pPr>
            <a:fld id="{88B37522-5382-4610-8128-B3198413FF94}" type="datetime1">
              <a:rPr lang="en-US"/>
              <a:pPr>
                <a:defRPr/>
              </a:pPr>
              <a:t>6/3/202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 bwMode="gray">
          <a:xfrm>
            <a:off x="3254375" y="5957888"/>
            <a:ext cx="5168900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100">
                <a:solidFill>
                  <a:schemeClr val="tx1"/>
                </a:solidFill>
                <a:latin typeface="Tele-GroteskNor" pitchFamily="2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– strictly confidential, confidential, internal, public –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 bwMode="gray">
          <a:xfrm>
            <a:off x="10834688" y="5957888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1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>
              <a:defRPr/>
            </a:pPr>
            <a:fld id="{1B481F1B-919F-42FF-B135-6BE529E42C9E}" type="slidenum">
              <a:rPr lang="en-US" altLang="hu-HU"/>
              <a:pPr>
                <a:defRPr/>
              </a:pPr>
              <a:t>‹#›</a:t>
            </a:fld>
            <a:endParaRPr lang="en-US" altLang="hu-HU"/>
          </a:p>
        </p:txBody>
      </p:sp>
      <p:pic>
        <p:nvPicPr>
          <p:cNvPr id="1032" name="Picture 65" descr="TSY_Logo_3c_p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200" y="5907088"/>
            <a:ext cx="2533650" cy="458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0" r:id="rId2"/>
    <p:sldLayoutId id="2147483811" r:id="rId3"/>
    <p:sldLayoutId id="2147483812" r:id="rId4"/>
    <p:sldLayoutId id="2147483813" r:id="rId5"/>
    <p:sldLayoutId id="2147483815" r:id="rId6"/>
  </p:sldLayoutIdLst>
  <p:hf hdr="0"/>
  <p:txStyles>
    <p:titleStyle>
      <a:lvl1pPr algn="l" defTabSz="576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de-DE" sz="3600" kern="1200" dirty="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/>
        </a:defRPr>
      </a:lvl1pPr>
      <a:lvl2pPr algn="l" defTabSz="576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2pPr>
      <a:lvl3pPr algn="l" defTabSz="576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3pPr>
      <a:lvl4pPr algn="l" defTabSz="576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4pPr>
      <a:lvl5pPr algn="l" defTabSz="576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5pPr>
      <a:lvl6pPr marL="457200" algn="l" defTabSz="576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</a:defRPr>
      </a:lvl6pPr>
      <a:lvl7pPr marL="914400" algn="l" defTabSz="576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</a:defRPr>
      </a:lvl7pPr>
      <a:lvl8pPr marL="1371600" algn="l" defTabSz="576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</a:defRPr>
      </a:lvl8pPr>
      <a:lvl9pPr marL="1828800" algn="l" defTabSz="576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63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anose="05000000000000000000" pitchFamily="2" charset="2"/>
        <a:defRPr sz="20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63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anose="05000000000000000000" pitchFamily="2" charset="2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5425" indent="-220663" algn="l" defTabSz="576263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44500" indent="-215900" algn="l" defTabSz="576263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77863" indent="-231775" algn="l" defTabSz="576263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sv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svg"/><Relationship Id="rId4" Type="http://schemas.openxmlformats.org/officeDocument/2006/relationships/image" Target="../media/image18.svg"/><Relationship Id="rId9" Type="http://schemas.openxmlformats.org/officeDocument/2006/relationships/image" Target="../media/image23.png"/><Relationship Id="rId14" Type="http://schemas.openxmlformats.org/officeDocument/2006/relationships/image" Target="../media/image2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7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284163" y="1576388"/>
            <a:ext cx="10706100" cy="156527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225425" indent="-220663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444500" indent="-2159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677863" indent="-231775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1135063" indent="-231775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1592263" indent="-231775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2049463" indent="-231775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2506663" indent="-231775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hu-HU" altLang="hu-HU" sz="4400" dirty="0">
                <a:solidFill>
                  <a:schemeClr val="bg1"/>
                </a:solidFill>
                <a:latin typeface="Tele-GroteskEEUlt" pitchFamily="2" charset="0"/>
                <a:ea typeface="TeleGrotesk Headline Ultra" pitchFamily="2" charset="0"/>
                <a:cs typeface="TeleGrotesk Headline Ultra" pitchFamily="2" charset="0"/>
              </a:rPr>
              <a:t>Új AI szolgáltatások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hu-HU" altLang="hu-HU" sz="4400" dirty="0">
                <a:solidFill>
                  <a:schemeClr val="bg1"/>
                </a:solidFill>
                <a:latin typeface="Tele-GroteskEEUlt" pitchFamily="2" charset="0"/>
                <a:ea typeface="TeleGrotesk Headline Ultra" pitchFamily="2" charset="0"/>
                <a:cs typeface="TeleGrotesk Headline Ultra" pitchFamily="2" charset="0"/>
              </a:rPr>
              <a:t>magyar nyelvű GPT-X modellel</a:t>
            </a:r>
            <a:endParaRPr lang="en-US" altLang="hu-HU" sz="2800" i="1" dirty="0">
              <a:solidFill>
                <a:schemeClr val="bg1"/>
              </a:solidFill>
              <a:latin typeface="Tele-GroteskEEUlt" pitchFamily="2" charset="0"/>
              <a:ea typeface="TeleGrotesk Headline Ultra" pitchFamily="2" charset="0"/>
              <a:cs typeface="TeleGrotesk Headline Ultra" pitchFamily="2" charset="0"/>
            </a:endParaRPr>
          </a:p>
        </p:txBody>
      </p:sp>
      <p:sp>
        <p:nvSpPr>
          <p:cNvPr id="2" name="Szövegdoboz 1">
            <a:extLst>
              <a:ext uri="{FF2B5EF4-FFF2-40B4-BE49-F238E27FC236}">
                <a16:creationId xmlns:a16="http://schemas.microsoft.com/office/drawing/2014/main" id="{A0A125E0-EC7C-4F1F-A102-B7AC0D09B398}"/>
              </a:ext>
            </a:extLst>
          </p:cNvPr>
          <p:cNvSpPr txBox="1"/>
          <p:nvPr/>
        </p:nvSpPr>
        <p:spPr>
          <a:xfrm>
            <a:off x="332509" y="3449782"/>
            <a:ext cx="2535566" cy="16414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800" dirty="0"/>
              <a:t>2022. június 7.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endParaRPr lang="hu-HU" sz="1800" dirty="0"/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800" dirty="0"/>
              <a:t>Horváth Varga János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800" dirty="0"/>
              <a:t>Head of AI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800" dirty="0"/>
              <a:t>T-Systems Magyarország Zrt.</a:t>
            </a: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églalap 63">
            <a:extLst>
              <a:ext uri="{FF2B5EF4-FFF2-40B4-BE49-F238E27FC236}">
                <a16:creationId xmlns:a16="http://schemas.microsoft.com/office/drawing/2014/main" id="{D7677B84-137F-4968-B896-93F17DCF7B37}"/>
              </a:ext>
            </a:extLst>
          </p:cNvPr>
          <p:cNvSpPr/>
          <p:nvPr/>
        </p:nvSpPr>
        <p:spPr>
          <a:xfrm>
            <a:off x="534514" y="1305688"/>
            <a:ext cx="10539877" cy="175822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A6D8763E-15D4-4F04-8132-2BCD7DEA40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Ügyfélszolgálati automatizáció hatékonyan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56C8AE41-43C6-4FFD-8C11-3D5D2DDF3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3BE6DB-5092-494B-9E7D-69A689934279}" type="slidenum">
              <a:rPr lang="en-US" altLang="hu-HU" smtClean="0"/>
              <a:pPr>
                <a:defRPr/>
              </a:pPr>
              <a:t>2</a:t>
            </a:fld>
            <a:endParaRPr lang="en-US" altLang="hu-HU"/>
          </a:p>
        </p:txBody>
      </p:sp>
      <p:sp>
        <p:nvSpPr>
          <p:cNvPr id="38" name="Téglalap 37">
            <a:extLst>
              <a:ext uri="{FF2B5EF4-FFF2-40B4-BE49-F238E27FC236}">
                <a16:creationId xmlns:a16="http://schemas.microsoft.com/office/drawing/2014/main" id="{D36672F4-DA06-462B-B7BC-BC7F2B74BA18}"/>
              </a:ext>
            </a:extLst>
          </p:cNvPr>
          <p:cNvSpPr/>
          <p:nvPr/>
        </p:nvSpPr>
        <p:spPr>
          <a:xfrm>
            <a:off x="4525799" y="3449819"/>
            <a:ext cx="2759786" cy="1757379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8641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Grotesk Next"/>
              <a:ea typeface="+mn-ea"/>
              <a:cs typeface="+mn-cs"/>
            </a:endParaRPr>
          </a:p>
        </p:txBody>
      </p:sp>
      <p:sp>
        <p:nvSpPr>
          <p:cNvPr id="39" name="Téglalap 38">
            <a:extLst>
              <a:ext uri="{FF2B5EF4-FFF2-40B4-BE49-F238E27FC236}">
                <a16:creationId xmlns:a16="http://schemas.microsoft.com/office/drawing/2014/main" id="{1D3AD0BB-B04D-46C9-8DE1-08E0EB16F8F6}"/>
              </a:ext>
            </a:extLst>
          </p:cNvPr>
          <p:cNvSpPr/>
          <p:nvPr/>
        </p:nvSpPr>
        <p:spPr>
          <a:xfrm>
            <a:off x="7945811" y="3449819"/>
            <a:ext cx="2759786" cy="1742167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8641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Grotesk Next"/>
              <a:ea typeface="+mn-ea"/>
              <a:cs typeface="+mn-cs"/>
            </a:endParaRPr>
          </a:p>
        </p:txBody>
      </p:sp>
      <p:sp>
        <p:nvSpPr>
          <p:cNvPr id="40" name="Téglalap 39">
            <a:extLst>
              <a:ext uri="{FF2B5EF4-FFF2-40B4-BE49-F238E27FC236}">
                <a16:creationId xmlns:a16="http://schemas.microsoft.com/office/drawing/2014/main" id="{AFA24855-A06F-4E94-9D48-F8EE76E1ACEB}"/>
              </a:ext>
            </a:extLst>
          </p:cNvPr>
          <p:cNvSpPr/>
          <p:nvPr/>
        </p:nvSpPr>
        <p:spPr>
          <a:xfrm>
            <a:off x="918667" y="3449819"/>
            <a:ext cx="2759786" cy="1758929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8641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Grotesk Next"/>
              <a:ea typeface="+mn-ea"/>
              <a:cs typeface="+mn-cs"/>
            </a:endParaRPr>
          </a:p>
        </p:txBody>
      </p:sp>
      <p:sp>
        <p:nvSpPr>
          <p:cNvPr id="41" name="Téglalap 40">
            <a:extLst>
              <a:ext uri="{FF2B5EF4-FFF2-40B4-BE49-F238E27FC236}">
                <a16:creationId xmlns:a16="http://schemas.microsoft.com/office/drawing/2014/main" id="{F11A9EE2-A277-49EE-B370-A23964D94E8C}"/>
              </a:ext>
            </a:extLst>
          </p:cNvPr>
          <p:cNvSpPr/>
          <p:nvPr/>
        </p:nvSpPr>
        <p:spPr>
          <a:xfrm>
            <a:off x="7936227" y="1635539"/>
            <a:ext cx="2782212" cy="128975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8641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Grotesk Next"/>
              <a:ea typeface="+mn-ea"/>
              <a:cs typeface="+mn-cs"/>
            </a:endParaRPr>
          </a:p>
        </p:txBody>
      </p:sp>
      <p:sp>
        <p:nvSpPr>
          <p:cNvPr id="42" name="Téglalap 41">
            <a:extLst>
              <a:ext uri="{FF2B5EF4-FFF2-40B4-BE49-F238E27FC236}">
                <a16:creationId xmlns:a16="http://schemas.microsoft.com/office/drawing/2014/main" id="{94E483CD-D69F-44CF-9627-1E597A42AB23}"/>
              </a:ext>
            </a:extLst>
          </p:cNvPr>
          <p:cNvSpPr/>
          <p:nvPr/>
        </p:nvSpPr>
        <p:spPr>
          <a:xfrm>
            <a:off x="4467474" y="1628343"/>
            <a:ext cx="2782212" cy="128975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8641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Grotesk Next"/>
              <a:ea typeface="+mn-ea"/>
              <a:cs typeface="+mn-cs"/>
            </a:endParaRPr>
          </a:p>
        </p:txBody>
      </p:sp>
      <p:sp>
        <p:nvSpPr>
          <p:cNvPr id="43" name="Téglalap 42">
            <a:extLst>
              <a:ext uri="{FF2B5EF4-FFF2-40B4-BE49-F238E27FC236}">
                <a16:creationId xmlns:a16="http://schemas.microsoft.com/office/drawing/2014/main" id="{6F30761A-6CE7-48ED-AA1B-BF353533AF98}"/>
              </a:ext>
            </a:extLst>
          </p:cNvPr>
          <p:cNvSpPr/>
          <p:nvPr/>
        </p:nvSpPr>
        <p:spPr>
          <a:xfrm>
            <a:off x="896241" y="1632900"/>
            <a:ext cx="2782212" cy="128975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8641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Grotesk Next"/>
              <a:ea typeface="+mn-ea"/>
              <a:cs typeface="+mn-cs"/>
            </a:endParaRPr>
          </a:p>
        </p:txBody>
      </p:sp>
      <p:sp>
        <p:nvSpPr>
          <p:cNvPr id="44" name="Szövegdoboz 43">
            <a:extLst>
              <a:ext uri="{FF2B5EF4-FFF2-40B4-BE49-F238E27FC236}">
                <a16:creationId xmlns:a16="http://schemas.microsoft.com/office/drawing/2014/main" id="{849EB4A1-8E16-40F6-9462-407B5B699ADB}"/>
              </a:ext>
            </a:extLst>
          </p:cNvPr>
          <p:cNvSpPr txBox="1"/>
          <p:nvPr/>
        </p:nvSpPr>
        <p:spPr>
          <a:xfrm>
            <a:off x="918667" y="2018807"/>
            <a:ext cx="273457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864108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hu-HU" sz="1600" b="1" dirty="0" err="1">
                <a:solidFill>
                  <a:schemeClr val="accent5">
                    <a:lumMod val="10000"/>
                  </a:schemeClr>
                </a:solidFill>
                <a:latin typeface="+mn-lt"/>
                <a:cs typeface="+mn-cs"/>
              </a:rPr>
              <a:t>Avaya</a:t>
            </a:r>
            <a:r>
              <a:rPr lang="hu-HU" sz="1600" b="1" dirty="0">
                <a:solidFill>
                  <a:schemeClr val="accent5">
                    <a:lumMod val="10000"/>
                  </a:schemeClr>
                </a:solidFill>
                <a:latin typeface="+mn-lt"/>
                <a:cs typeface="+mn-cs"/>
              </a:rPr>
              <a:t> </a:t>
            </a:r>
            <a:r>
              <a:rPr lang="hu-HU" sz="1600" b="1" dirty="0" err="1">
                <a:solidFill>
                  <a:schemeClr val="accent5">
                    <a:lumMod val="10000"/>
                  </a:schemeClr>
                </a:solidFill>
                <a:latin typeface="+mn-lt"/>
                <a:cs typeface="+mn-cs"/>
              </a:rPr>
              <a:t>Contact</a:t>
            </a:r>
            <a:r>
              <a:rPr lang="hu-HU" sz="1600" b="1" dirty="0">
                <a:solidFill>
                  <a:schemeClr val="accent5">
                    <a:lumMod val="10000"/>
                  </a:schemeClr>
                </a:solidFill>
                <a:latin typeface="+mn-lt"/>
                <a:cs typeface="+mn-cs"/>
              </a:rPr>
              <a:t> Center </a:t>
            </a:r>
            <a:br>
              <a:rPr lang="hu-HU" sz="1600" b="1" dirty="0">
                <a:solidFill>
                  <a:schemeClr val="accent5">
                    <a:lumMod val="10000"/>
                  </a:schemeClr>
                </a:solidFill>
                <a:latin typeface="+mn-lt"/>
                <a:cs typeface="+mn-cs"/>
              </a:rPr>
            </a:br>
            <a:r>
              <a:rPr lang="hu-HU" sz="1600" b="1" dirty="0">
                <a:solidFill>
                  <a:schemeClr val="accent5">
                    <a:lumMod val="10000"/>
                  </a:schemeClr>
                </a:solidFill>
                <a:latin typeface="+mn-lt"/>
                <a:cs typeface="+mn-cs"/>
              </a:rPr>
              <a:t>előfeltétel volt</a:t>
            </a:r>
          </a:p>
        </p:txBody>
      </p:sp>
      <p:sp>
        <p:nvSpPr>
          <p:cNvPr id="45" name="Szövegdoboz 44">
            <a:extLst>
              <a:ext uri="{FF2B5EF4-FFF2-40B4-BE49-F238E27FC236}">
                <a16:creationId xmlns:a16="http://schemas.microsoft.com/office/drawing/2014/main" id="{1E92A165-052B-4A1D-84F1-DB0342CD56FC}"/>
              </a:ext>
            </a:extLst>
          </p:cNvPr>
          <p:cNvSpPr txBox="1"/>
          <p:nvPr/>
        </p:nvSpPr>
        <p:spPr>
          <a:xfrm>
            <a:off x="4525798" y="2018807"/>
            <a:ext cx="266556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864108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hu-HU" sz="1600" b="1" dirty="0">
                <a:solidFill>
                  <a:schemeClr val="accent5">
                    <a:lumMod val="10000"/>
                  </a:schemeClr>
                </a:solidFill>
                <a:latin typeface="+mn-lt"/>
                <a:cs typeface="+mn-cs"/>
              </a:rPr>
              <a:t>Csak egyedi projektként </a:t>
            </a:r>
            <a:br>
              <a:rPr lang="hu-HU" sz="1600" b="1" dirty="0">
                <a:solidFill>
                  <a:schemeClr val="accent5">
                    <a:lumMod val="10000"/>
                  </a:schemeClr>
                </a:solidFill>
                <a:latin typeface="+mn-lt"/>
                <a:cs typeface="+mn-cs"/>
              </a:rPr>
            </a:br>
            <a:r>
              <a:rPr lang="hu-HU" sz="1600" b="1" dirty="0">
                <a:solidFill>
                  <a:schemeClr val="accent5">
                    <a:lumMod val="10000"/>
                  </a:schemeClr>
                </a:solidFill>
                <a:latin typeface="+mn-lt"/>
                <a:cs typeface="+mn-cs"/>
              </a:rPr>
              <a:t>volt elérhető</a:t>
            </a:r>
          </a:p>
        </p:txBody>
      </p:sp>
      <p:sp>
        <p:nvSpPr>
          <p:cNvPr id="46" name="Szövegdoboz 45">
            <a:extLst>
              <a:ext uri="{FF2B5EF4-FFF2-40B4-BE49-F238E27FC236}">
                <a16:creationId xmlns:a16="http://schemas.microsoft.com/office/drawing/2014/main" id="{9E5FD269-E333-4339-B633-936D90CB4615}"/>
              </a:ext>
            </a:extLst>
          </p:cNvPr>
          <p:cNvSpPr txBox="1"/>
          <p:nvPr/>
        </p:nvSpPr>
        <p:spPr>
          <a:xfrm>
            <a:off x="8066248" y="2018807"/>
            <a:ext cx="266556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864108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hu-HU" sz="1600" b="1" dirty="0">
                <a:solidFill>
                  <a:schemeClr val="accent5">
                    <a:lumMod val="10000"/>
                  </a:schemeClr>
                </a:solidFill>
                <a:latin typeface="+mn-lt"/>
                <a:cs typeface="+mn-cs"/>
              </a:rPr>
              <a:t>Sok tanító adatot igényelt </a:t>
            </a:r>
            <a:br>
              <a:rPr lang="hu-HU" sz="1600" b="1" dirty="0">
                <a:solidFill>
                  <a:schemeClr val="accent5">
                    <a:lumMod val="10000"/>
                  </a:schemeClr>
                </a:solidFill>
                <a:latin typeface="+mn-lt"/>
                <a:cs typeface="+mn-cs"/>
              </a:rPr>
            </a:br>
            <a:r>
              <a:rPr lang="hu-HU" sz="1600" b="1" dirty="0">
                <a:solidFill>
                  <a:schemeClr val="accent5">
                    <a:lumMod val="10000"/>
                  </a:schemeClr>
                </a:solidFill>
                <a:latin typeface="+mn-lt"/>
                <a:cs typeface="+mn-cs"/>
              </a:rPr>
              <a:t>(60-80e mondat)</a:t>
            </a:r>
          </a:p>
        </p:txBody>
      </p:sp>
      <p:sp>
        <p:nvSpPr>
          <p:cNvPr id="53" name="Szövegdoboz 52">
            <a:extLst>
              <a:ext uri="{FF2B5EF4-FFF2-40B4-BE49-F238E27FC236}">
                <a16:creationId xmlns:a16="http://schemas.microsoft.com/office/drawing/2014/main" id="{DE54F41F-059B-4743-B837-876C3EB27EA4}"/>
              </a:ext>
            </a:extLst>
          </p:cNvPr>
          <p:cNvSpPr txBox="1"/>
          <p:nvPr/>
        </p:nvSpPr>
        <p:spPr>
          <a:xfrm>
            <a:off x="1051988" y="4413083"/>
            <a:ext cx="249314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u-HU" sz="1600" cap="small" dirty="0"/>
              <a:t>Felhő alapú </a:t>
            </a:r>
            <a:r>
              <a:rPr lang="hu-HU" sz="1600" cap="small" dirty="0" err="1"/>
              <a:t>contact</a:t>
            </a:r>
            <a:r>
              <a:rPr lang="hu-HU" sz="1600" cap="small" dirty="0"/>
              <a:t> center szolgáltatást indítunk</a:t>
            </a:r>
          </a:p>
        </p:txBody>
      </p:sp>
      <p:sp>
        <p:nvSpPr>
          <p:cNvPr id="54" name="Szövegdoboz 53">
            <a:extLst>
              <a:ext uri="{FF2B5EF4-FFF2-40B4-BE49-F238E27FC236}">
                <a16:creationId xmlns:a16="http://schemas.microsoft.com/office/drawing/2014/main" id="{1D8DFD24-B646-4F87-B6FC-2FB2627E9AE3}"/>
              </a:ext>
            </a:extLst>
          </p:cNvPr>
          <p:cNvSpPr txBox="1"/>
          <p:nvPr/>
        </p:nvSpPr>
        <p:spPr>
          <a:xfrm>
            <a:off x="4608293" y="4413082"/>
            <a:ext cx="267729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u-HU" sz="1600" cap="small" dirty="0"/>
              <a:t>Havidíjas felhőszolgáltatás-ként biztosítjuk</a:t>
            </a:r>
          </a:p>
        </p:txBody>
      </p:sp>
      <p:sp>
        <p:nvSpPr>
          <p:cNvPr id="55" name="Szövegdoboz 54">
            <a:extLst>
              <a:ext uri="{FF2B5EF4-FFF2-40B4-BE49-F238E27FC236}">
                <a16:creationId xmlns:a16="http://schemas.microsoft.com/office/drawing/2014/main" id="{D00B1035-C74B-4A16-9E1E-F9B02B01B768}"/>
              </a:ext>
            </a:extLst>
          </p:cNvPr>
          <p:cNvSpPr txBox="1"/>
          <p:nvPr/>
        </p:nvSpPr>
        <p:spPr>
          <a:xfrm>
            <a:off x="7930910" y="4413081"/>
            <a:ext cx="278221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u-HU" sz="1600" cap="small" dirty="0"/>
              <a:t>Cél a költséghatékony,</a:t>
            </a:r>
            <a:br>
              <a:rPr lang="hu-HU" sz="1600" cap="small" dirty="0"/>
            </a:br>
            <a:r>
              <a:rPr lang="hu-HU" sz="1600" cap="small" dirty="0"/>
              <a:t>gyors automatizáció</a:t>
            </a:r>
          </a:p>
        </p:txBody>
      </p:sp>
      <p:pic>
        <p:nvPicPr>
          <p:cNvPr id="56" name="Ábra 55" descr="A dolgok internete egyszínű kitöltéssel">
            <a:extLst>
              <a:ext uri="{FF2B5EF4-FFF2-40B4-BE49-F238E27FC236}">
                <a16:creationId xmlns:a16="http://schemas.microsoft.com/office/drawing/2014/main" id="{B5C093C5-2813-472B-B98F-B28153B206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73124" y="3661979"/>
            <a:ext cx="635085" cy="635085"/>
          </a:xfrm>
          <a:prstGeom prst="rect">
            <a:avLst/>
          </a:prstGeom>
        </p:spPr>
      </p:pic>
      <p:sp>
        <p:nvSpPr>
          <p:cNvPr id="65" name="Téglalap 64">
            <a:extLst>
              <a:ext uri="{FF2B5EF4-FFF2-40B4-BE49-F238E27FC236}">
                <a16:creationId xmlns:a16="http://schemas.microsoft.com/office/drawing/2014/main" id="{0DCAE6D2-BCCC-4A67-B059-36D7D326EEFA}"/>
              </a:ext>
            </a:extLst>
          </p:cNvPr>
          <p:cNvSpPr/>
          <p:nvPr/>
        </p:nvSpPr>
        <p:spPr>
          <a:xfrm>
            <a:off x="408104" y="1025738"/>
            <a:ext cx="2532807" cy="465906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>
                <a:solidFill>
                  <a:schemeClr val="tx1"/>
                </a:solidFill>
              </a:rPr>
              <a:t>Vanda elterjedésének eddigi akadályai</a:t>
            </a:r>
          </a:p>
        </p:txBody>
      </p:sp>
      <p:sp>
        <p:nvSpPr>
          <p:cNvPr id="66" name="Téglalap 65">
            <a:extLst>
              <a:ext uri="{FF2B5EF4-FFF2-40B4-BE49-F238E27FC236}">
                <a16:creationId xmlns:a16="http://schemas.microsoft.com/office/drawing/2014/main" id="{41BB85E6-4D2B-4DD4-A26F-97D34E4E7A4F}"/>
              </a:ext>
            </a:extLst>
          </p:cNvPr>
          <p:cNvSpPr/>
          <p:nvPr/>
        </p:nvSpPr>
        <p:spPr>
          <a:xfrm>
            <a:off x="534513" y="3239631"/>
            <a:ext cx="10539877" cy="2259463"/>
          </a:xfrm>
          <a:prstGeom prst="rect">
            <a:avLst/>
          </a:prstGeom>
          <a:noFill/>
          <a:ln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sp>
        <p:nvSpPr>
          <p:cNvPr id="67" name="Téglalap 66">
            <a:extLst>
              <a:ext uri="{FF2B5EF4-FFF2-40B4-BE49-F238E27FC236}">
                <a16:creationId xmlns:a16="http://schemas.microsoft.com/office/drawing/2014/main" id="{9F49C8F7-0E19-42D5-830C-1CB1DE0B6236}"/>
              </a:ext>
            </a:extLst>
          </p:cNvPr>
          <p:cNvSpPr/>
          <p:nvPr/>
        </p:nvSpPr>
        <p:spPr>
          <a:xfrm>
            <a:off x="8647216" y="5283807"/>
            <a:ext cx="2532807" cy="465906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>
                <a:solidFill>
                  <a:schemeClr val="bg1"/>
                </a:solidFill>
              </a:rPr>
              <a:t>Új szolgálatásunk</a:t>
            </a:r>
          </a:p>
        </p:txBody>
      </p:sp>
      <p:pic>
        <p:nvPicPr>
          <p:cNvPr id="71" name="Ábra 70" descr="Havi naptár egyszínű kitöltéssel">
            <a:extLst>
              <a:ext uri="{FF2B5EF4-FFF2-40B4-BE49-F238E27FC236}">
                <a16:creationId xmlns:a16="http://schemas.microsoft.com/office/drawing/2014/main" id="{ECA1B103-B87D-48CB-86F2-0A58B2C939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83949" y="3683483"/>
            <a:ext cx="633600" cy="633600"/>
          </a:xfrm>
          <a:prstGeom prst="rect">
            <a:avLst/>
          </a:prstGeom>
        </p:spPr>
      </p:pic>
      <p:pic>
        <p:nvPicPr>
          <p:cNvPr id="73" name="Ábra 72" descr="Stopper egyszínű kitöltéssel">
            <a:extLst>
              <a:ext uri="{FF2B5EF4-FFF2-40B4-BE49-F238E27FC236}">
                <a16:creationId xmlns:a16="http://schemas.microsoft.com/office/drawing/2014/main" id="{455D47DA-5967-471E-8371-846D0B79198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05216" y="3636506"/>
            <a:ext cx="633600" cy="633600"/>
          </a:xfrm>
          <a:prstGeom prst="rect">
            <a:avLst/>
          </a:prstGeom>
        </p:spPr>
      </p:pic>
      <p:sp>
        <p:nvSpPr>
          <p:cNvPr id="74" name="Nyíl: lefelé mutató 73">
            <a:extLst>
              <a:ext uri="{FF2B5EF4-FFF2-40B4-BE49-F238E27FC236}">
                <a16:creationId xmlns:a16="http://schemas.microsoft.com/office/drawing/2014/main" id="{6FAE27FF-2819-47E3-80E6-A037F8BB886D}"/>
              </a:ext>
            </a:extLst>
          </p:cNvPr>
          <p:cNvSpPr/>
          <p:nvPr/>
        </p:nvSpPr>
        <p:spPr>
          <a:xfrm>
            <a:off x="2003667" y="2749024"/>
            <a:ext cx="564572" cy="58477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sp>
        <p:nvSpPr>
          <p:cNvPr id="75" name="Nyíl: lefelé mutató 74">
            <a:extLst>
              <a:ext uri="{FF2B5EF4-FFF2-40B4-BE49-F238E27FC236}">
                <a16:creationId xmlns:a16="http://schemas.microsoft.com/office/drawing/2014/main" id="{C2A2408A-8F1D-4442-91B7-5966475C8971}"/>
              </a:ext>
            </a:extLst>
          </p:cNvPr>
          <p:cNvSpPr/>
          <p:nvPr/>
        </p:nvSpPr>
        <p:spPr>
          <a:xfrm>
            <a:off x="5618463" y="2748211"/>
            <a:ext cx="564572" cy="58477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sp>
        <p:nvSpPr>
          <p:cNvPr id="76" name="Nyíl: lefelé mutató 75">
            <a:extLst>
              <a:ext uri="{FF2B5EF4-FFF2-40B4-BE49-F238E27FC236}">
                <a16:creationId xmlns:a16="http://schemas.microsoft.com/office/drawing/2014/main" id="{A9F9C3AE-002D-4C09-A6A6-7D7BA0642C9A}"/>
              </a:ext>
            </a:extLst>
          </p:cNvPr>
          <p:cNvSpPr/>
          <p:nvPr/>
        </p:nvSpPr>
        <p:spPr>
          <a:xfrm>
            <a:off x="9039730" y="2755229"/>
            <a:ext cx="564572" cy="58477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3683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42370170-8FC5-4BC0-85EA-11BCEBA57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172" y="236389"/>
            <a:ext cx="10863263" cy="625725"/>
          </a:xfrm>
        </p:spPr>
        <p:txBody>
          <a:bodyPr/>
          <a:lstStyle/>
          <a:p>
            <a:pPr>
              <a:lnSpc>
                <a:spcPts val="2200"/>
              </a:lnSpc>
            </a:pPr>
            <a:r>
              <a:rPr lang="hu-HU" dirty="0"/>
              <a:t>Vanda 2.0</a:t>
            </a:r>
            <a:br>
              <a:rPr lang="hu-HU" spc="-100" dirty="0"/>
            </a:br>
            <a:r>
              <a:rPr lang="hu-HU" sz="2000" i="1" dirty="0" err="1">
                <a:latin typeface="+mn-lt"/>
              </a:rPr>
              <a:t>from</a:t>
            </a:r>
            <a:r>
              <a:rPr lang="hu-HU" sz="2000" i="1" dirty="0">
                <a:latin typeface="+mn-lt"/>
              </a:rPr>
              <a:t> </a:t>
            </a:r>
            <a:r>
              <a:rPr lang="hu-HU" sz="2000" i="1" dirty="0" err="1">
                <a:latin typeface="+mn-lt"/>
              </a:rPr>
              <a:t>Conversational</a:t>
            </a:r>
            <a:r>
              <a:rPr lang="hu-HU" sz="2000" i="1" dirty="0">
                <a:latin typeface="+mn-lt"/>
              </a:rPr>
              <a:t> IVR </a:t>
            </a:r>
            <a:r>
              <a:rPr lang="hu-HU" sz="2000" i="1" dirty="0" err="1">
                <a:latin typeface="+mn-lt"/>
              </a:rPr>
              <a:t>to</a:t>
            </a:r>
            <a:r>
              <a:rPr lang="hu-HU" sz="2000" i="1" dirty="0">
                <a:latin typeface="+mn-lt"/>
              </a:rPr>
              <a:t> </a:t>
            </a:r>
            <a:r>
              <a:rPr lang="hu-HU" sz="2000" i="1" dirty="0" err="1">
                <a:latin typeface="+mn-lt"/>
              </a:rPr>
              <a:t>Intelligent</a:t>
            </a:r>
            <a:r>
              <a:rPr lang="hu-HU" sz="2000" i="1" dirty="0">
                <a:latin typeface="+mn-lt"/>
              </a:rPr>
              <a:t> </a:t>
            </a:r>
            <a:r>
              <a:rPr lang="hu-HU" sz="2000" i="1" dirty="0" err="1">
                <a:latin typeface="+mn-lt"/>
              </a:rPr>
              <a:t>Conversation</a:t>
            </a:r>
            <a:endParaRPr lang="hu-HU" sz="2000" i="1" dirty="0">
              <a:latin typeface="+mn-lt"/>
            </a:endParaRP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76304D4-F1B1-4077-BD2E-B8A1422107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3BE6DB-5092-494B-9E7D-69A689934279}" type="slidenum">
              <a:rPr lang="en-US" altLang="hu-HU" smtClean="0"/>
              <a:pPr>
                <a:defRPr/>
              </a:pPr>
              <a:t>3</a:t>
            </a:fld>
            <a:endParaRPr lang="en-US" altLang="hu-HU" dirty="0"/>
          </a:p>
        </p:txBody>
      </p:sp>
      <p:sp>
        <p:nvSpPr>
          <p:cNvPr id="7" name="Téglalap 6">
            <a:extLst>
              <a:ext uri="{FF2B5EF4-FFF2-40B4-BE49-F238E27FC236}">
                <a16:creationId xmlns:a16="http://schemas.microsoft.com/office/drawing/2014/main" id="{DB8825F2-140A-408B-BE2A-CB90803E722A}"/>
              </a:ext>
            </a:extLst>
          </p:cNvPr>
          <p:cNvSpPr/>
          <p:nvPr/>
        </p:nvSpPr>
        <p:spPr>
          <a:xfrm>
            <a:off x="2649114" y="1479543"/>
            <a:ext cx="1723545" cy="782832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err="1">
                <a:solidFill>
                  <a:schemeClr val="tx1"/>
                </a:solidFill>
              </a:rPr>
              <a:t>Contact</a:t>
            </a:r>
            <a:r>
              <a:rPr lang="hu-HU" dirty="0">
                <a:solidFill>
                  <a:schemeClr val="tx1"/>
                </a:solidFill>
              </a:rPr>
              <a:t> Center</a:t>
            </a:r>
          </a:p>
        </p:txBody>
      </p:sp>
      <p:sp>
        <p:nvSpPr>
          <p:cNvPr id="8" name="Felhő 7">
            <a:extLst>
              <a:ext uri="{FF2B5EF4-FFF2-40B4-BE49-F238E27FC236}">
                <a16:creationId xmlns:a16="http://schemas.microsoft.com/office/drawing/2014/main" id="{7300481C-6B67-4794-9153-6CBD05CC2800}"/>
              </a:ext>
            </a:extLst>
          </p:cNvPr>
          <p:cNvSpPr/>
          <p:nvPr/>
        </p:nvSpPr>
        <p:spPr>
          <a:xfrm>
            <a:off x="797819" y="1346888"/>
            <a:ext cx="1565663" cy="1065704"/>
          </a:xfrm>
          <a:prstGeom prst="cloud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>
                <a:solidFill>
                  <a:schemeClr val="tx1"/>
                </a:solidFill>
              </a:rPr>
              <a:t>PSTN</a:t>
            </a:r>
          </a:p>
        </p:txBody>
      </p:sp>
      <p:sp>
        <p:nvSpPr>
          <p:cNvPr id="9" name="Téglalap 8">
            <a:extLst>
              <a:ext uri="{FF2B5EF4-FFF2-40B4-BE49-F238E27FC236}">
                <a16:creationId xmlns:a16="http://schemas.microsoft.com/office/drawing/2014/main" id="{58AFF33F-594E-4A29-9052-DC8B3B9D2F96}"/>
              </a:ext>
            </a:extLst>
          </p:cNvPr>
          <p:cNvSpPr/>
          <p:nvPr/>
        </p:nvSpPr>
        <p:spPr>
          <a:xfrm>
            <a:off x="7426015" y="400227"/>
            <a:ext cx="1565663" cy="78283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err="1">
                <a:solidFill>
                  <a:schemeClr val="bg1"/>
                </a:solidFill>
              </a:rPr>
              <a:t>Nuance</a:t>
            </a:r>
            <a:r>
              <a:rPr lang="hu-HU" dirty="0">
                <a:solidFill>
                  <a:schemeClr val="bg1"/>
                </a:solidFill>
              </a:rPr>
              <a:t> ASR</a:t>
            </a:r>
          </a:p>
          <a:p>
            <a:pPr algn="ctr"/>
            <a:r>
              <a:rPr lang="hu-HU" sz="1800" dirty="0" err="1">
                <a:solidFill>
                  <a:schemeClr val="bg1"/>
                </a:solidFill>
              </a:rPr>
              <a:t>Recognizer</a:t>
            </a: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10" name="Téglalap 9">
            <a:extLst>
              <a:ext uri="{FF2B5EF4-FFF2-40B4-BE49-F238E27FC236}">
                <a16:creationId xmlns:a16="http://schemas.microsoft.com/office/drawing/2014/main" id="{39928390-EDC0-46F6-89E4-57CCAF7F216D}"/>
              </a:ext>
            </a:extLst>
          </p:cNvPr>
          <p:cNvSpPr/>
          <p:nvPr/>
        </p:nvSpPr>
        <p:spPr>
          <a:xfrm>
            <a:off x="9216440" y="1502857"/>
            <a:ext cx="1565663" cy="782832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b="1" dirty="0">
                <a:solidFill>
                  <a:schemeClr val="tx1"/>
                </a:solidFill>
              </a:rPr>
              <a:t>GPT-3</a:t>
            </a:r>
            <a:br>
              <a:rPr lang="hu-HU" dirty="0">
                <a:solidFill>
                  <a:schemeClr val="tx1"/>
                </a:solidFill>
              </a:rPr>
            </a:br>
            <a:r>
              <a:rPr lang="hu-HU" sz="1800" dirty="0" err="1">
                <a:solidFill>
                  <a:schemeClr val="tx1"/>
                </a:solidFill>
              </a:rPr>
              <a:t>language</a:t>
            </a:r>
            <a:r>
              <a:rPr lang="hu-HU" sz="1800" dirty="0">
                <a:solidFill>
                  <a:schemeClr val="tx1"/>
                </a:solidFill>
              </a:rPr>
              <a:t> </a:t>
            </a:r>
            <a:r>
              <a:rPr lang="hu-HU" sz="1800" dirty="0" err="1">
                <a:solidFill>
                  <a:schemeClr val="tx1"/>
                </a:solidFill>
              </a:rPr>
              <a:t>model</a:t>
            </a:r>
            <a:endParaRPr lang="hu-HU" sz="1800" dirty="0">
              <a:solidFill>
                <a:schemeClr val="tx1"/>
              </a:solidFill>
            </a:endParaRPr>
          </a:p>
        </p:txBody>
      </p:sp>
      <p:sp>
        <p:nvSpPr>
          <p:cNvPr id="11" name="Téglalap 10">
            <a:extLst>
              <a:ext uri="{FF2B5EF4-FFF2-40B4-BE49-F238E27FC236}">
                <a16:creationId xmlns:a16="http://schemas.microsoft.com/office/drawing/2014/main" id="{A9F05F7D-F50A-4768-9BA6-FD68C09A7D8D}"/>
              </a:ext>
            </a:extLst>
          </p:cNvPr>
          <p:cNvSpPr/>
          <p:nvPr/>
        </p:nvSpPr>
        <p:spPr>
          <a:xfrm>
            <a:off x="5477707" y="1477954"/>
            <a:ext cx="1723545" cy="78283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000" dirty="0">
                <a:solidFill>
                  <a:schemeClr val="bg1"/>
                </a:solidFill>
              </a:rPr>
              <a:t>T-Systems AIF </a:t>
            </a:r>
            <a:r>
              <a:rPr lang="hu-HU" sz="1800" dirty="0">
                <a:solidFill>
                  <a:schemeClr val="bg1"/>
                </a:solidFill>
              </a:rPr>
              <a:t>(</a:t>
            </a:r>
            <a:r>
              <a:rPr lang="hu-HU" sz="1800" dirty="0" err="1">
                <a:solidFill>
                  <a:schemeClr val="bg1"/>
                </a:solidFill>
              </a:rPr>
              <a:t>workflow</a:t>
            </a:r>
            <a:r>
              <a:rPr lang="hu-HU" sz="1800" dirty="0">
                <a:solidFill>
                  <a:schemeClr val="bg1"/>
                </a:solidFill>
              </a:rPr>
              <a:t> </a:t>
            </a:r>
            <a:r>
              <a:rPr lang="hu-HU" sz="1800" dirty="0" err="1">
                <a:solidFill>
                  <a:schemeClr val="bg1"/>
                </a:solidFill>
              </a:rPr>
              <a:t>engine</a:t>
            </a:r>
            <a:r>
              <a:rPr lang="hu-HU" sz="18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12" name="Téglalap 11">
            <a:extLst>
              <a:ext uri="{FF2B5EF4-FFF2-40B4-BE49-F238E27FC236}">
                <a16:creationId xmlns:a16="http://schemas.microsoft.com/office/drawing/2014/main" id="{4C712CDF-6AC4-4EE8-A0A7-DC83F6B4C4D9}"/>
              </a:ext>
            </a:extLst>
          </p:cNvPr>
          <p:cNvSpPr/>
          <p:nvPr/>
        </p:nvSpPr>
        <p:spPr>
          <a:xfrm>
            <a:off x="9228502" y="384879"/>
            <a:ext cx="1565663" cy="78283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err="1">
                <a:solidFill>
                  <a:schemeClr val="bg1"/>
                </a:solidFill>
              </a:rPr>
              <a:t>Nuance</a:t>
            </a:r>
            <a:r>
              <a:rPr lang="hu-HU" dirty="0">
                <a:solidFill>
                  <a:schemeClr val="bg1"/>
                </a:solidFill>
              </a:rPr>
              <a:t> TTS</a:t>
            </a:r>
          </a:p>
          <a:p>
            <a:pPr algn="ctr"/>
            <a:r>
              <a:rPr lang="hu-HU" sz="1800" dirty="0" err="1">
                <a:solidFill>
                  <a:schemeClr val="bg1"/>
                </a:solidFill>
              </a:rPr>
              <a:t>Vocalizer</a:t>
            </a: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13" name="Téglalap 12">
            <a:extLst>
              <a:ext uri="{FF2B5EF4-FFF2-40B4-BE49-F238E27FC236}">
                <a16:creationId xmlns:a16="http://schemas.microsoft.com/office/drawing/2014/main" id="{BDA29F2A-4B1F-4CE8-AF29-B39674434067}"/>
              </a:ext>
            </a:extLst>
          </p:cNvPr>
          <p:cNvSpPr/>
          <p:nvPr/>
        </p:nvSpPr>
        <p:spPr>
          <a:xfrm>
            <a:off x="7426015" y="1500232"/>
            <a:ext cx="1565663" cy="782832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000" b="1" dirty="0" err="1">
                <a:solidFill>
                  <a:schemeClr val="tx1"/>
                </a:solidFill>
              </a:rPr>
              <a:t>Speech</a:t>
            </a:r>
            <a:r>
              <a:rPr lang="hu-HU" sz="2000" b="1" dirty="0">
                <a:solidFill>
                  <a:schemeClr val="tx1"/>
                </a:solidFill>
              </a:rPr>
              <a:t> </a:t>
            </a:r>
            <a:r>
              <a:rPr lang="hu-HU" sz="2000" b="1" dirty="0" err="1">
                <a:solidFill>
                  <a:schemeClr val="tx1"/>
                </a:solidFill>
              </a:rPr>
              <a:t>To</a:t>
            </a:r>
            <a:r>
              <a:rPr lang="hu-HU" sz="2000" b="1" dirty="0">
                <a:solidFill>
                  <a:schemeClr val="tx1"/>
                </a:solidFill>
              </a:rPr>
              <a:t> Text</a:t>
            </a:r>
          </a:p>
          <a:p>
            <a:pPr algn="ctr"/>
            <a:r>
              <a:rPr lang="hu-HU" sz="1800" dirty="0" err="1">
                <a:solidFill>
                  <a:schemeClr val="tx1"/>
                </a:solidFill>
              </a:rPr>
              <a:t>SpeechTex</a:t>
            </a:r>
            <a:endParaRPr lang="hu-HU" sz="1800" dirty="0">
              <a:solidFill>
                <a:schemeClr val="tx1"/>
              </a:solidFill>
            </a:endParaRPr>
          </a:p>
        </p:txBody>
      </p:sp>
      <p:sp>
        <p:nvSpPr>
          <p:cNvPr id="14" name="Téglalap 13">
            <a:extLst>
              <a:ext uri="{FF2B5EF4-FFF2-40B4-BE49-F238E27FC236}">
                <a16:creationId xmlns:a16="http://schemas.microsoft.com/office/drawing/2014/main" id="{815808B0-ADF2-43BA-9A5C-8A6C80EE9A22}"/>
              </a:ext>
            </a:extLst>
          </p:cNvPr>
          <p:cNvSpPr/>
          <p:nvPr/>
        </p:nvSpPr>
        <p:spPr>
          <a:xfrm>
            <a:off x="637746" y="1044325"/>
            <a:ext cx="3873319" cy="1950501"/>
          </a:xfrm>
          <a:prstGeom prst="rect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hu-HU" sz="1800" dirty="0">
                <a:solidFill>
                  <a:schemeClr val="tx1"/>
                </a:solidFill>
              </a:rPr>
              <a:t>T-Systems </a:t>
            </a:r>
            <a:r>
              <a:rPr lang="hu-HU" sz="1800" dirty="0" err="1">
                <a:solidFill>
                  <a:schemeClr val="tx1"/>
                </a:solidFill>
              </a:rPr>
              <a:t>CCaaS</a:t>
            </a:r>
            <a:endParaRPr lang="hu-HU" sz="1800" dirty="0">
              <a:solidFill>
                <a:schemeClr val="tx1"/>
              </a:solidFill>
            </a:endParaRPr>
          </a:p>
          <a:p>
            <a:pPr algn="r"/>
            <a:r>
              <a:rPr lang="hu-HU" sz="1400" dirty="0" err="1">
                <a:solidFill>
                  <a:schemeClr val="tx1"/>
                </a:solidFill>
              </a:rPr>
              <a:t>or</a:t>
            </a:r>
            <a:r>
              <a:rPr lang="hu-HU" sz="1400" dirty="0">
                <a:solidFill>
                  <a:schemeClr val="tx1"/>
                </a:solidFill>
              </a:rPr>
              <a:t> </a:t>
            </a:r>
            <a:r>
              <a:rPr lang="hu-HU" sz="1400" dirty="0" err="1">
                <a:solidFill>
                  <a:schemeClr val="tx1"/>
                </a:solidFill>
              </a:rPr>
              <a:t>customer’s</a:t>
            </a:r>
            <a:r>
              <a:rPr lang="hu-HU" sz="1400" dirty="0">
                <a:solidFill>
                  <a:schemeClr val="tx1"/>
                </a:solidFill>
              </a:rPr>
              <a:t> </a:t>
            </a:r>
            <a:r>
              <a:rPr lang="hu-HU" sz="1400" dirty="0" err="1">
                <a:solidFill>
                  <a:schemeClr val="tx1"/>
                </a:solidFill>
              </a:rPr>
              <a:t>on-premises</a:t>
            </a:r>
            <a:endParaRPr lang="hu-HU" sz="1400" dirty="0">
              <a:solidFill>
                <a:schemeClr val="tx1"/>
              </a:solidFill>
            </a:endParaRPr>
          </a:p>
        </p:txBody>
      </p:sp>
      <p:sp>
        <p:nvSpPr>
          <p:cNvPr id="15" name="Téglalap 14">
            <a:extLst>
              <a:ext uri="{FF2B5EF4-FFF2-40B4-BE49-F238E27FC236}">
                <a16:creationId xmlns:a16="http://schemas.microsoft.com/office/drawing/2014/main" id="{F6215939-D67E-4457-88DC-551BD7787E28}"/>
              </a:ext>
            </a:extLst>
          </p:cNvPr>
          <p:cNvSpPr/>
          <p:nvPr/>
        </p:nvSpPr>
        <p:spPr>
          <a:xfrm>
            <a:off x="7426015" y="2508260"/>
            <a:ext cx="1565663" cy="782832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000" b="1" dirty="0">
                <a:solidFill>
                  <a:schemeClr val="tx1"/>
                </a:solidFill>
              </a:rPr>
              <a:t>Text </a:t>
            </a:r>
            <a:r>
              <a:rPr lang="hu-HU" sz="2000" b="1" dirty="0" err="1">
                <a:solidFill>
                  <a:schemeClr val="tx1"/>
                </a:solidFill>
              </a:rPr>
              <a:t>To</a:t>
            </a:r>
            <a:r>
              <a:rPr lang="hu-HU" sz="2000" b="1" dirty="0">
                <a:solidFill>
                  <a:schemeClr val="tx1"/>
                </a:solidFill>
              </a:rPr>
              <a:t> </a:t>
            </a:r>
            <a:r>
              <a:rPr lang="hu-HU" sz="2000" b="1" dirty="0" err="1">
                <a:solidFill>
                  <a:schemeClr val="tx1"/>
                </a:solidFill>
              </a:rPr>
              <a:t>Speech</a:t>
            </a:r>
            <a:br>
              <a:rPr lang="hu-HU" b="1" dirty="0">
                <a:solidFill>
                  <a:schemeClr val="tx1"/>
                </a:solidFill>
              </a:rPr>
            </a:br>
            <a:r>
              <a:rPr lang="hu-HU" sz="1800" dirty="0">
                <a:solidFill>
                  <a:schemeClr val="tx1"/>
                </a:solidFill>
              </a:rPr>
              <a:t>DNN </a:t>
            </a:r>
            <a:r>
              <a:rPr lang="hu-HU" sz="1800" dirty="0" err="1">
                <a:solidFill>
                  <a:schemeClr val="tx1"/>
                </a:solidFill>
              </a:rPr>
              <a:t>model</a:t>
            </a:r>
            <a:endParaRPr lang="hu-HU" sz="1800" dirty="0">
              <a:solidFill>
                <a:schemeClr val="tx1"/>
              </a:solidFill>
            </a:endParaRPr>
          </a:p>
        </p:txBody>
      </p:sp>
      <p:sp>
        <p:nvSpPr>
          <p:cNvPr id="16" name="Szövegdoboz 15">
            <a:extLst>
              <a:ext uri="{FF2B5EF4-FFF2-40B4-BE49-F238E27FC236}">
                <a16:creationId xmlns:a16="http://schemas.microsoft.com/office/drawing/2014/main" id="{44D81904-4417-4D1A-A0AB-99B39FDAF627}"/>
              </a:ext>
            </a:extLst>
          </p:cNvPr>
          <p:cNvSpPr txBox="1"/>
          <p:nvPr/>
        </p:nvSpPr>
        <p:spPr>
          <a:xfrm>
            <a:off x="9833149" y="2659699"/>
            <a:ext cx="1011494" cy="553998"/>
          </a:xfrm>
          <a:prstGeom prst="rect">
            <a:avLst/>
          </a:prstGeom>
          <a:noFill/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800" dirty="0">
                <a:solidFill>
                  <a:schemeClr val="tx2"/>
                </a:solidFill>
              </a:rPr>
              <a:t>Vanda 2.0</a:t>
            </a:r>
            <a:br>
              <a:rPr lang="hu-HU" sz="1800" dirty="0">
                <a:solidFill>
                  <a:schemeClr val="tx2"/>
                </a:solidFill>
              </a:rPr>
            </a:br>
            <a:r>
              <a:rPr lang="hu-HU" sz="1800" dirty="0" err="1">
                <a:solidFill>
                  <a:schemeClr val="tx2"/>
                </a:solidFill>
              </a:rPr>
              <a:t>capabilities</a:t>
            </a:r>
            <a:endParaRPr lang="hu-HU" sz="1800" dirty="0">
              <a:solidFill>
                <a:schemeClr val="tx2"/>
              </a:solidFill>
            </a:endParaRPr>
          </a:p>
        </p:txBody>
      </p:sp>
      <p:cxnSp>
        <p:nvCxnSpPr>
          <p:cNvPr id="18" name="Egyenes összekötő nyíllal 17">
            <a:extLst>
              <a:ext uri="{FF2B5EF4-FFF2-40B4-BE49-F238E27FC236}">
                <a16:creationId xmlns:a16="http://schemas.microsoft.com/office/drawing/2014/main" id="{450AD76D-61E4-4A11-B789-43CA8E8E96AB}"/>
              </a:ext>
            </a:extLst>
          </p:cNvPr>
          <p:cNvCxnSpPr>
            <a:cxnSpLocks/>
            <a:stCxn id="16" idx="1"/>
          </p:cNvCxnSpPr>
          <p:nvPr/>
        </p:nvCxnSpPr>
        <p:spPr>
          <a:xfrm flipH="1" flipV="1">
            <a:off x="9078034" y="2872956"/>
            <a:ext cx="755115" cy="63742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Egyenes összekötő nyíllal 18">
            <a:extLst>
              <a:ext uri="{FF2B5EF4-FFF2-40B4-BE49-F238E27FC236}">
                <a16:creationId xmlns:a16="http://schemas.microsoft.com/office/drawing/2014/main" id="{FBC18A28-85A7-4333-8F29-05886F41D691}"/>
              </a:ext>
            </a:extLst>
          </p:cNvPr>
          <p:cNvCxnSpPr>
            <a:cxnSpLocks/>
          </p:cNvCxnSpPr>
          <p:nvPr/>
        </p:nvCxnSpPr>
        <p:spPr>
          <a:xfrm flipH="1" flipV="1">
            <a:off x="9298671" y="2459955"/>
            <a:ext cx="534479" cy="2252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Egyenes összekötő nyíllal 24">
            <a:extLst>
              <a:ext uri="{FF2B5EF4-FFF2-40B4-BE49-F238E27FC236}">
                <a16:creationId xmlns:a16="http://schemas.microsoft.com/office/drawing/2014/main" id="{3C1E9F28-F430-4644-93D4-CC3C2A97E487}"/>
              </a:ext>
            </a:extLst>
          </p:cNvPr>
          <p:cNvCxnSpPr>
            <a:cxnSpLocks/>
          </p:cNvCxnSpPr>
          <p:nvPr/>
        </p:nvCxnSpPr>
        <p:spPr>
          <a:xfrm flipH="1" flipV="1">
            <a:off x="10079310" y="2394546"/>
            <a:ext cx="74555" cy="20799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églalap 31">
            <a:extLst>
              <a:ext uri="{FF2B5EF4-FFF2-40B4-BE49-F238E27FC236}">
                <a16:creationId xmlns:a16="http://schemas.microsoft.com/office/drawing/2014/main" id="{4A6953A3-178E-4A2D-8E00-E7B23E46BBDB}"/>
              </a:ext>
            </a:extLst>
          </p:cNvPr>
          <p:cNvSpPr/>
          <p:nvPr/>
        </p:nvSpPr>
        <p:spPr>
          <a:xfrm>
            <a:off x="5391620" y="144728"/>
            <a:ext cx="5927722" cy="3749696"/>
          </a:xfrm>
          <a:prstGeom prst="rect">
            <a:avLst/>
          </a:prstGeom>
          <a:noFill/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hu-HU" dirty="0">
                <a:solidFill>
                  <a:schemeClr val="tx1"/>
                </a:solidFill>
              </a:rPr>
              <a:t>Vanda </a:t>
            </a:r>
            <a:r>
              <a:rPr lang="hu-HU" dirty="0" err="1">
                <a:solidFill>
                  <a:schemeClr val="tx1"/>
                </a:solidFill>
              </a:rPr>
              <a:t>as</a:t>
            </a:r>
            <a:r>
              <a:rPr lang="hu-HU" dirty="0">
                <a:solidFill>
                  <a:schemeClr val="tx1"/>
                </a:solidFill>
              </a:rPr>
              <a:t> a Service</a:t>
            </a:r>
            <a:br>
              <a:rPr lang="hu-HU" dirty="0">
                <a:solidFill>
                  <a:schemeClr val="tx1"/>
                </a:solidFill>
              </a:rPr>
            </a:br>
            <a:r>
              <a:rPr lang="hu-HU" sz="1600" dirty="0">
                <a:solidFill>
                  <a:schemeClr val="tx1"/>
                </a:solidFill>
              </a:rPr>
              <a:t>TSM </a:t>
            </a:r>
            <a:r>
              <a:rPr lang="hu-HU" sz="1600" dirty="0" err="1">
                <a:solidFill>
                  <a:schemeClr val="tx1"/>
                </a:solidFill>
              </a:rPr>
              <a:t>Azure</a:t>
            </a:r>
            <a:r>
              <a:rPr lang="hu-HU" sz="1600" dirty="0">
                <a:solidFill>
                  <a:schemeClr val="tx1"/>
                </a:solidFill>
              </a:rPr>
              <a:t> </a:t>
            </a:r>
            <a:r>
              <a:rPr lang="hu-HU" sz="1600" dirty="0" err="1">
                <a:solidFill>
                  <a:schemeClr val="tx1"/>
                </a:solidFill>
              </a:rPr>
              <a:t>Stack</a:t>
            </a:r>
            <a:r>
              <a:rPr lang="hu-HU" sz="1600" dirty="0">
                <a:solidFill>
                  <a:schemeClr val="tx1"/>
                </a:solidFill>
              </a:rPr>
              <a:t> </a:t>
            </a:r>
            <a:r>
              <a:rPr lang="hu-HU" sz="1600" dirty="0" err="1">
                <a:solidFill>
                  <a:schemeClr val="tx1"/>
                </a:solidFill>
              </a:rPr>
              <a:t>Hub</a:t>
            </a:r>
            <a:endParaRPr lang="hu-HU" sz="1800" dirty="0">
              <a:solidFill>
                <a:schemeClr val="tx1"/>
              </a:solidFill>
            </a:endParaRPr>
          </a:p>
        </p:txBody>
      </p:sp>
      <p:cxnSp>
        <p:nvCxnSpPr>
          <p:cNvPr id="34" name="Egyenes összekötő nyíllal 33">
            <a:extLst>
              <a:ext uri="{FF2B5EF4-FFF2-40B4-BE49-F238E27FC236}">
                <a16:creationId xmlns:a16="http://schemas.microsoft.com/office/drawing/2014/main" id="{538F5601-C197-4C24-8D50-A330909282A6}"/>
              </a:ext>
            </a:extLst>
          </p:cNvPr>
          <p:cNvCxnSpPr>
            <a:cxnSpLocks/>
            <a:stCxn id="14" idx="3"/>
            <a:endCxn id="32" idx="1"/>
          </p:cNvCxnSpPr>
          <p:nvPr/>
        </p:nvCxnSpPr>
        <p:spPr>
          <a:xfrm>
            <a:off x="4511065" y="2019576"/>
            <a:ext cx="880555" cy="0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Szövegdoboz 42">
            <a:extLst>
              <a:ext uri="{FF2B5EF4-FFF2-40B4-BE49-F238E27FC236}">
                <a16:creationId xmlns:a16="http://schemas.microsoft.com/office/drawing/2014/main" id="{C1C402B2-25C6-4A7F-9B59-5C7D8482D786}"/>
              </a:ext>
            </a:extLst>
          </p:cNvPr>
          <p:cNvSpPr txBox="1"/>
          <p:nvPr/>
        </p:nvSpPr>
        <p:spPr>
          <a:xfrm>
            <a:off x="361323" y="4275285"/>
            <a:ext cx="5030297" cy="1113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1600" dirty="0">
                <a:solidFill>
                  <a:schemeClr val="tx1"/>
                </a:solidFill>
                <a:latin typeface="+mn-lt"/>
              </a:rPr>
              <a:t>Intelligens beszélgetések </a:t>
            </a:r>
            <a:r>
              <a:rPr lang="hu-HU" sz="1600" b="1" dirty="0">
                <a:solidFill>
                  <a:schemeClr val="tx1"/>
                </a:solidFill>
                <a:latin typeface="+mn-lt"/>
              </a:rPr>
              <a:t>mélyebb megértéssel </a:t>
            </a:r>
            <a:r>
              <a:rPr lang="hu-HU" sz="1600" dirty="0">
                <a:solidFill>
                  <a:schemeClr val="tx1"/>
                </a:solidFill>
                <a:latin typeface="+mn-lt"/>
              </a:rPr>
              <a:t>(GPT-X)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1600" dirty="0">
                <a:solidFill>
                  <a:schemeClr val="tx1"/>
                </a:solidFill>
                <a:latin typeface="+mn-lt"/>
              </a:rPr>
              <a:t>Sokkal </a:t>
            </a:r>
            <a:r>
              <a:rPr lang="hu-HU" sz="1600" b="1" dirty="0">
                <a:solidFill>
                  <a:schemeClr val="tx1"/>
                </a:solidFill>
                <a:latin typeface="+mn-lt"/>
              </a:rPr>
              <a:t>gyorsabb és olcsóbb tanulás 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1600" b="1" dirty="0">
                <a:solidFill>
                  <a:schemeClr val="tx1"/>
                </a:solidFill>
                <a:latin typeface="+mn-lt"/>
              </a:rPr>
              <a:t>Nincs szükség mély igen/nem döntési fákra </a:t>
            </a:r>
            <a:r>
              <a:rPr lang="hu-HU" sz="1600" dirty="0">
                <a:solidFill>
                  <a:schemeClr val="tx1"/>
                </a:solidFill>
                <a:latin typeface="+mn-lt"/>
              </a:rPr>
              <a:t>az automatizált munkafolyamatok során.</a:t>
            </a:r>
          </a:p>
        </p:txBody>
      </p:sp>
      <p:sp>
        <p:nvSpPr>
          <p:cNvPr id="44" name="Szövegdoboz 43">
            <a:extLst>
              <a:ext uri="{FF2B5EF4-FFF2-40B4-BE49-F238E27FC236}">
                <a16:creationId xmlns:a16="http://schemas.microsoft.com/office/drawing/2014/main" id="{69DFDDEC-BE93-419B-9E1C-0E73702646B0}"/>
              </a:ext>
            </a:extLst>
          </p:cNvPr>
          <p:cNvSpPr txBox="1"/>
          <p:nvPr/>
        </p:nvSpPr>
        <p:spPr>
          <a:xfrm>
            <a:off x="5724328" y="452102"/>
            <a:ext cx="1084913" cy="553998"/>
          </a:xfrm>
          <a:prstGeom prst="rect">
            <a:avLst/>
          </a:prstGeom>
          <a:noFill/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800" dirty="0">
                <a:solidFill>
                  <a:schemeClr val="tx1"/>
                </a:solidFill>
              </a:rPr>
              <a:t>Vanda 1.0</a:t>
            </a:r>
            <a:br>
              <a:rPr lang="hu-HU" sz="1800" dirty="0">
                <a:solidFill>
                  <a:schemeClr val="tx1"/>
                </a:solidFill>
              </a:rPr>
            </a:br>
            <a:r>
              <a:rPr lang="hu-HU" sz="1800" dirty="0" err="1">
                <a:solidFill>
                  <a:schemeClr val="tx1"/>
                </a:solidFill>
              </a:rPr>
              <a:t>components</a:t>
            </a:r>
            <a:endParaRPr lang="hu-HU" sz="1800" dirty="0">
              <a:solidFill>
                <a:schemeClr val="tx1"/>
              </a:solidFill>
            </a:endParaRPr>
          </a:p>
        </p:txBody>
      </p:sp>
      <p:cxnSp>
        <p:nvCxnSpPr>
          <p:cNvPr id="45" name="Egyenes összekötő nyíllal 44">
            <a:extLst>
              <a:ext uri="{FF2B5EF4-FFF2-40B4-BE49-F238E27FC236}">
                <a16:creationId xmlns:a16="http://schemas.microsoft.com/office/drawing/2014/main" id="{BE9D0B5F-D0C3-4EEA-81FF-80F6722CD88C}"/>
              </a:ext>
            </a:extLst>
          </p:cNvPr>
          <p:cNvCxnSpPr>
            <a:cxnSpLocks/>
          </p:cNvCxnSpPr>
          <p:nvPr/>
        </p:nvCxnSpPr>
        <p:spPr>
          <a:xfrm>
            <a:off x="6900838" y="729101"/>
            <a:ext cx="4067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Egyenes összekötő nyíllal 47">
            <a:extLst>
              <a:ext uri="{FF2B5EF4-FFF2-40B4-BE49-F238E27FC236}">
                <a16:creationId xmlns:a16="http://schemas.microsoft.com/office/drawing/2014/main" id="{E668A1E9-B703-4703-86D8-8B9128E673CF}"/>
              </a:ext>
            </a:extLst>
          </p:cNvPr>
          <p:cNvCxnSpPr>
            <a:cxnSpLocks/>
          </p:cNvCxnSpPr>
          <p:nvPr/>
        </p:nvCxnSpPr>
        <p:spPr>
          <a:xfrm>
            <a:off x="6339479" y="1044325"/>
            <a:ext cx="0" cy="350299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Szövegdoboz 52">
            <a:extLst>
              <a:ext uri="{FF2B5EF4-FFF2-40B4-BE49-F238E27FC236}">
                <a16:creationId xmlns:a16="http://schemas.microsoft.com/office/drawing/2014/main" id="{ADC170CE-575C-4E0F-8E08-F57FFD8A9F7F}"/>
              </a:ext>
            </a:extLst>
          </p:cNvPr>
          <p:cNvSpPr txBox="1"/>
          <p:nvPr/>
        </p:nvSpPr>
        <p:spPr>
          <a:xfrm>
            <a:off x="1580650" y="5444121"/>
            <a:ext cx="77795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400" i="1" dirty="0">
                <a:solidFill>
                  <a:schemeClr val="tx1"/>
                </a:solidFill>
              </a:rPr>
              <a:t>„Szeretnék </a:t>
            </a:r>
            <a:r>
              <a:rPr lang="hu-HU" sz="2400" i="1" dirty="0">
                <a:solidFill>
                  <a:srgbClr val="0066FF"/>
                </a:solidFill>
              </a:rPr>
              <a:t>venni </a:t>
            </a:r>
            <a:r>
              <a:rPr lang="hu-HU" sz="2400" i="1" dirty="0">
                <a:solidFill>
                  <a:schemeClr val="tx1"/>
                </a:solidFill>
              </a:rPr>
              <a:t>egy </a:t>
            </a:r>
            <a:r>
              <a:rPr lang="hu-HU" sz="2400" i="1" dirty="0">
                <a:solidFill>
                  <a:srgbClr val="FF0000"/>
                </a:solidFill>
              </a:rPr>
              <a:t>piros</a:t>
            </a:r>
            <a:r>
              <a:rPr lang="hu-HU" sz="2400" i="1" dirty="0">
                <a:solidFill>
                  <a:schemeClr val="tx1"/>
                </a:solidFill>
              </a:rPr>
              <a:t> </a:t>
            </a:r>
            <a:r>
              <a:rPr lang="hu-HU" sz="2400" i="1" dirty="0">
                <a:solidFill>
                  <a:srgbClr val="7030A0"/>
                </a:solidFill>
              </a:rPr>
              <a:t>iPhone 13</a:t>
            </a:r>
            <a:r>
              <a:rPr lang="hu-HU" sz="2400" i="1" dirty="0">
                <a:solidFill>
                  <a:schemeClr val="tx1"/>
                </a:solidFill>
              </a:rPr>
              <a:t>-at </a:t>
            </a:r>
            <a:r>
              <a:rPr lang="hu-HU" sz="2400" i="1" dirty="0">
                <a:solidFill>
                  <a:srgbClr val="009900"/>
                </a:solidFill>
              </a:rPr>
              <a:t>holnap</a:t>
            </a:r>
            <a:r>
              <a:rPr lang="hu-HU" sz="2400" i="1" dirty="0">
                <a:solidFill>
                  <a:schemeClr val="tx1"/>
                </a:solidFill>
              </a:rPr>
              <a:t> a </a:t>
            </a:r>
            <a:r>
              <a:rPr lang="hu-HU" sz="2400" i="1" dirty="0">
                <a:solidFill>
                  <a:schemeClr val="tx2"/>
                </a:solidFill>
              </a:rPr>
              <a:t>Westendben</a:t>
            </a:r>
            <a:r>
              <a:rPr lang="hu-HU" sz="2400" i="1" dirty="0">
                <a:solidFill>
                  <a:schemeClr val="tx1"/>
                </a:solidFill>
              </a:rPr>
              <a:t>”</a:t>
            </a:r>
            <a:endParaRPr lang="hu-HU" sz="2400" dirty="0"/>
          </a:p>
        </p:txBody>
      </p:sp>
      <p:sp>
        <p:nvSpPr>
          <p:cNvPr id="26" name="Szövegdoboz 25">
            <a:extLst>
              <a:ext uri="{FF2B5EF4-FFF2-40B4-BE49-F238E27FC236}">
                <a16:creationId xmlns:a16="http://schemas.microsoft.com/office/drawing/2014/main" id="{96D05682-3115-4256-9003-7D6CF674E9E4}"/>
              </a:ext>
            </a:extLst>
          </p:cNvPr>
          <p:cNvSpPr txBox="1"/>
          <p:nvPr/>
        </p:nvSpPr>
        <p:spPr>
          <a:xfrm>
            <a:off x="5477707" y="4278140"/>
            <a:ext cx="5774348" cy="9592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1600" dirty="0">
                <a:solidFill>
                  <a:schemeClr val="tx1"/>
                </a:solidFill>
                <a:latin typeface="+mn-lt"/>
              </a:rPr>
              <a:t>Testreszabott leiratozás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1600" dirty="0">
                <a:solidFill>
                  <a:schemeClr val="tx1"/>
                </a:solidFill>
                <a:latin typeface="+mn-lt"/>
              </a:rPr>
              <a:t>Egylépéses szándék és entitás felismerés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1600" dirty="0">
                <a:solidFill>
                  <a:schemeClr val="tx1"/>
                </a:solidFill>
                <a:latin typeface="+mn-lt"/>
              </a:rPr>
              <a:t>Mély neurális hálózaton alapuló legkorszerűbb hanggenerálás</a:t>
            </a:r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92E43009-AE25-4602-A4FF-4AC57B0462C7}"/>
              </a:ext>
            </a:extLst>
          </p:cNvPr>
          <p:cNvSpPr txBox="1"/>
          <p:nvPr/>
        </p:nvSpPr>
        <p:spPr>
          <a:xfrm>
            <a:off x="367848" y="3791057"/>
            <a:ext cx="2281266" cy="3539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>
                <a:solidFill>
                  <a:schemeClr val="tx1"/>
                </a:solidFill>
              </a:rPr>
              <a:t>Az új AI technológia:</a:t>
            </a:r>
          </a:p>
        </p:txBody>
      </p:sp>
    </p:spTree>
    <p:extLst>
      <p:ext uri="{BB962C8B-B14F-4D97-AF65-F5344CB8AC3E}">
        <p14:creationId xmlns:p14="http://schemas.microsoft.com/office/powerpoint/2010/main" val="42793769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4F66CE8-9D86-460F-8CC0-34CB691C37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További felhasználási lehetőségek</a:t>
            </a:r>
            <a:br>
              <a:rPr lang="hu-HU" dirty="0"/>
            </a:br>
            <a:r>
              <a:rPr lang="hu-HU" sz="2000" dirty="0">
                <a:latin typeface="+mn-lt"/>
              </a:rPr>
              <a:t>Az ügyfélszolgálatokon túl…</a:t>
            </a:r>
            <a:endParaRPr lang="hu-HU" dirty="0">
              <a:latin typeface="+mn-lt"/>
            </a:endParaRP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187B57FB-2C80-45F7-9CA2-CD36F6C62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3BE6DB-5092-494B-9E7D-69A689934279}" type="slidenum">
              <a:rPr lang="en-US" altLang="hu-HU" smtClean="0"/>
              <a:pPr>
                <a:defRPr/>
              </a:pPr>
              <a:t>4</a:t>
            </a:fld>
            <a:endParaRPr lang="en-US" altLang="hu-HU"/>
          </a:p>
        </p:txBody>
      </p:sp>
      <p:sp>
        <p:nvSpPr>
          <p:cNvPr id="7" name="Szövegdoboz 6">
            <a:extLst>
              <a:ext uri="{FF2B5EF4-FFF2-40B4-BE49-F238E27FC236}">
                <a16:creationId xmlns:a16="http://schemas.microsoft.com/office/drawing/2014/main" id="{CFF1269D-F770-49FD-B572-C5CB6F64175C}"/>
              </a:ext>
            </a:extLst>
          </p:cNvPr>
          <p:cNvSpPr txBox="1"/>
          <p:nvPr/>
        </p:nvSpPr>
        <p:spPr>
          <a:xfrm>
            <a:off x="761635" y="2752413"/>
            <a:ext cx="298388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u-HU" sz="1800" dirty="0">
                <a:solidFill>
                  <a:schemeClr val="tx1"/>
                </a:solidFill>
              </a:rPr>
              <a:t>GPT-X egyedi modell szolgáltatás nagyvállalatoknak</a:t>
            </a:r>
          </a:p>
        </p:txBody>
      </p:sp>
      <p:sp>
        <p:nvSpPr>
          <p:cNvPr id="9" name="Szövegdoboz 8">
            <a:extLst>
              <a:ext uri="{FF2B5EF4-FFF2-40B4-BE49-F238E27FC236}">
                <a16:creationId xmlns:a16="http://schemas.microsoft.com/office/drawing/2014/main" id="{BFD378D0-2B82-4426-9496-561A185F383C}"/>
              </a:ext>
            </a:extLst>
          </p:cNvPr>
          <p:cNvSpPr txBox="1"/>
          <p:nvPr/>
        </p:nvSpPr>
        <p:spPr>
          <a:xfrm>
            <a:off x="4438014" y="2752413"/>
            <a:ext cx="264604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u-HU" sz="1800" dirty="0">
                <a:solidFill>
                  <a:schemeClr val="tx1"/>
                </a:solidFill>
              </a:rPr>
              <a:t>Keresőmotor =&gt; szöveggenerálás?</a:t>
            </a:r>
          </a:p>
        </p:txBody>
      </p:sp>
      <p:sp>
        <p:nvSpPr>
          <p:cNvPr id="11" name="Szövegdoboz 10">
            <a:extLst>
              <a:ext uri="{FF2B5EF4-FFF2-40B4-BE49-F238E27FC236}">
                <a16:creationId xmlns:a16="http://schemas.microsoft.com/office/drawing/2014/main" id="{A9AC5ACB-3BED-433B-8B50-3CE3288DC62A}"/>
              </a:ext>
            </a:extLst>
          </p:cNvPr>
          <p:cNvSpPr txBox="1"/>
          <p:nvPr/>
        </p:nvSpPr>
        <p:spPr>
          <a:xfrm>
            <a:off x="7880625" y="2752413"/>
            <a:ext cx="25692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u-HU" sz="1800" dirty="0">
                <a:solidFill>
                  <a:schemeClr val="tx1"/>
                </a:solidFill>
              </a:rPr>
              <a:t>Vállalati tudásbázis építés chatbot interfésszel</a:t>
            </a:r>
          </a:p>
        </p:txBody>
      </p:sp>
      <p:sp>
        <p:nvSpPr>
          <p:cNvPr id="13" name="Szövegdoboz 12">
            <a:extLst>
              <a:ext uri="{FF2B5EF4-FFF2-40B4-BE49-F238E27FC236}">
                <a16:creationId xmlns:a16="http://schemas.microsoft.com/office/drawing/2014/main" id="{3328AEFF-02EE-4239-BB04-C1F0B8BD9923}"/>
              </a:ext>
            </a:extLst>
          </p:cNvPr>
          <p:cNvSpPr txBox="1"/>
          <p:nvPr/>
        </p:nvSpPr>
        <p:spPr>
          <a:xfrm>
            <a:off x="1000675" y="4820382"/>
            <a:ext cx="25419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u-HU" sz="1800" dirty="0">
                <a:solidFill>
                  <a:schemeClr val="tx1"/>
                </a:solidFill>
              </a:rPr>
              <a:t>Jogi folyamatok támogatása</a:t>
            </a:r>
          </a:p>
        </p:txBody>
      </p:sp>
      <p:sp>
        <p:nvSpPr>
          <p:cNvPr id="15" name="Szövegdoboz 14">
            <a:extLst>
              <a:ext uri="{FF2B5EF4-FFF2-40B4-BE49-F238E27FC236}">
                <a16:creationId xmlns:a16="http://schemas.microsoft.com/office/drawing/2014/main" id="{45D64AE2-0850-401A-8EF0-24281AC1A2E6}"/>
              </a:ext>
            </a:extLst>
          </p:cNvPr>
          <p:cNvSpPr txBox="1"/>
          <p:nvPr/>
        </p:nvSpPr>
        <p:spPr>
          <a:xfrm>
            <a:off x="4438014" y="4820381"/>
            <a:ext cx="264604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u-HU" sz="1800" dirty="0">
                <a:solidFill>
                  <a:schemeClr val="tx1"/>
                </a:solidFill>
              </a:rPr>
              <a:t>Programkódgenerálás egyedi modellel</a:t>
            </a:r>
          </a:p>
        </p:txBody>
      </p:sp>
      <p:sp>
        <p:nvSpPr>
          <p:cNvPr id="17" name="Szövegdoboz 16">
            <a:extLst>
              <a:ext uri="{FF2B5EF4-FFF2-40B4-BE49-F238E27FC236}">
                <a16:creationId xmlns:a16="http://schemas.microsoft.com/office/drawing/2014/main" id="{BF197FCC-8544-4BEF-B998-05C661E0EDF2}"/>
              </a:ext>
            </a:extLst>
          </p:cNvPr>
          <p:cNvSpPr txBox="1"/>
          <p:nvPr/>
        </p:nvSpPr>
        <p:spPr>
          <a:xfrm>
            <a:off x="7673302" y="4820380"/>
            <a:ext cx="298388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u-HU" sz="1800" dirty="0">
                <a:solidFill>
                  <a:schemeClr val="tx1"/>
                </a:solidFill>
              </a:rPr>
              <a:t>Alexa/Siri/Google </a:t>
            </a:r>
            <a:r>
              <a:rPr lang="hu-HU" sz="1800" dirty="0" err="1">
                <a:solidFill>
                  <a:schemeClr val="tx1"/>
                </a:solidFill>
              </a:rPr>
              <a:t>Assistant</a:t>
            </a:r>
            <a:r>
              <a:rPr lang="hu-HU" sz="1800" dirty="0">
                <a:solidFill>
                  <a:schemeClr val="tx1"/>
                </a:solidFill>
              </a:rPr>
              <a:t> funkciók magyarul?</a:t>
            </a:r>
          </a:p>
        </p:txBody>
      </p:sp>
      <p:pic>
        <p:nvPicPr>
          <p:cNvPr id="19" name="Ábra 18" descr="Épület egyszínű kitöltéssel">
            <a:extLst>
              <a:ext uri="{FF2B5EF4-FFF2-40B4-BE49-F238E27FC236}">
                <a16:creationId xmlns:a16="http://schemas.microsoft.com/office/drawing/2014/main" id="{89B82151-18E8-4738-9616-14ADCFC47B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44736" y="1634668"/>
            <a:ext cx="914400" cy="914400"/>
          </a:xfrm>
          <a:prstGeom prst="rect">
            <a:avLst/>
          </a:prstGeom>
        </p:spPr>
      </p:pic>
      <p:pic>
        <p:nvPicPr>
          <p:cNvPr id="21" name="Ábra 20" descr="Dokumentum egyszínű kitöltéssel">
            <a:extLst>
              <a:ext uri="{FF2B5EF4-FFF2-40B4-BE49-F238E27FC236}">
                <a16:creationId xmlns:a16="http://schemas.microsoft.com/office/drawing/2014/main" id="{55AF24E5-7441-4F6D-93AB-4E48AB9CD2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79231" y="1634668"/>
            <a:ext cx="914400" cy="914400"/>
          </a:xfrm>
          <a:prstGeom prst="rect">
            <a:avLst/>
          </a:prstGeom>
        </p:spPr>
      </p:pic>
      <p:pic>
        <p:nvPicPr>
          <p:cNvPr id="23" name="Ábra 22" descr="Csevegésbuborék egyszínű kitöltéssel">
            <a:extLst>
              <a:ext uri="{FF2B5EF4-FFF2-40B4-BE49-F238E27FC236}">
                <a16:creationId xmlns:a16="http://schemas.microsoft.com/office/drawing/2014/main" id="{9F83EEAC-E0E2-490F-BD80-A57D0765424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708047" y="1630991"/>
            <a:ext cx="914400" cy="914400"/>
          </a:xfrm>
          <a:prstGeom prst="rect">
            <a:avLst/>
          </a:prstGeom>
        </p:spPr>
      </p:pic>
      <p:pic>
        <p:nvPicPr>
          <p:cNvPr id="25" name="Ábra 24" descr="Bírói kalapács egyszínű kitöltéssel">
            <a:extLst>
              <a:ext uri="{FF2B5EF4-FFF2-40B4-BE49-F238E27FC236}">
                <a16:creationId xmlns:a16="http://schemas.microsoft.com/office/drawing/2014/main" id="{67A207BD-29BA-4250-801F-A1DB9EA0AB4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844736" y="3759008"/>
            <a:ext cx="914400" cy="914400"/>
          </a:xfrm>
          <a:prstGeom prst="rect">
            <a:avLst/>
          </a:prstGeom>
        </p:spPr>
      </p:pic>
      <p:pic>
        <p:nvPicPr>
          <p:cNvPr id="27" name="Ábra 26" descr="Férfi programozó egyszínű kitöltéssel">
            <a:extLst>
              <a:ext uri="{FF2B5EF4-FFF2-40B4-BE49-F238E27FC236}">
                <a16:creationId xmlns:a16="http://schemas.microsoft.com/office/drawing/2014/main" id="{9CDCE239-0825-49FD-8772-AA41EF33140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279231" y="3759008"/>
            <a:ext cx="914400" cy="914400"/>
          </a:xfrm>
          <a:prstGeom prst="rect">
            <a:avLst/>
          </a:prstGeom>
        </p:spPr>
      </p:pic>
      <p:pic>
        <p:nvPicPr>
          <p:cNvPr id="29" name="Ábra 28" descr="Mesterséges intelligencia egyszínű kitöltéssel">
            <a:extLst>
              <a:ext uri="{FF2B5EF4-FFF2-40B4-BE49-F238E27FC236}">
                <a16:creationId xmlns:a16="http://schemas.microsoft.com/office/drawing/2014/main" id="{FAF6ED77-1F99-40C3-9118-18D84CA161F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708047" y="375900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9374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5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m_hCMpk.V4ND6ZZem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592S_uvUGiHdQZRInq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XB.U3WeEiu7UzsSJ27K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I_oaHZqk289dUG2fBE4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I_oaHZqk289dUG2fBE4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592S_uvUGiHdQZRInq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XB.U3WeEiu7UzsSJ27K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I_oaHZqk289dUG2fBE4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592S_uvUGiHdQZRInq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XB.U3WeEiu7UzsSJ27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I_oaHZqk289dUG2fBE4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jBzsR6wkO3_WKRStDQ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.TmT8Vf0epfXzv_nQa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fO06LMTEOmzET9q5Oy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592S_uvUGiHdQZRInq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XB.U3WeEiu7UzsSJ27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I_oaHZqk289dUG2fBE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SY_PPT_Master_16_9_E">
  <a:themeElements>
    <a:clrScheme name="TELEKOM_Master_DE_RC6 Kopie 2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1B2CA6AEECBEE440AB36827970E8E2A5" ma:contentTypeVersion="" ma:contentTypeDescription="Új dokumentum létrehozása." ma:contentTypeScope="" ma:versionID="832ce4dfaf917cb1ba27a89767261693">
  <xsd:schema xmlns:xsd="http://www.w3.org/2001/XMLSchema" xmlns:xs="http://www.w3.org/2001/XMLSchema" xmlns:p="http://schemas.microsoft.com/office/2006/metadata/properties" xmlns:ns2="eff08c82-ce1c-49bc-a1d0-41eac7de1a3e" targetNamespace="http://schemas.microsoft.com/office/2006/metadata/properties" ma:root="true" ma:fieldsID="4aabf486d456b887433404a5ee02d546" ns2:_="">
    <xsd:import namespace="eff08c82-ce1c-49bc-a1d0-41eac7de1a3e"/>
    <xsd:element name="properties">
      <xsd:complexType>
        <xsd:sequence>
          <xsd:element name="documentManagement">
            <xsd:complexType>
              <xsd:all>
                <xsd:element ref="ns2:Titokgazda" minOccurs="0"/>
                <xsd:element ref="ns2:Titokkorlát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f08c82-ce1c-49bc-a1d0-41eac7de1a3e" elementFormDefault="qualified">
    <xsd:import namespace="http://schemas.microsoft.com/office/2006/documentManagement/types"/>
    <xsd:import namespace="http://schemas.microsoft.com/office/infopath/2007/PartnerControls"/>
    <xsd:element name="Titokgazda" ma:index="8" nillable="true" ma:displayName="Titokgazda" ma:internalName="Titokgazda">
      <xsd:simpleType>
        <xsd:restriction base="dms:Text">
          <xsd:maxLength value="255"/>
        </xsd:restriction>
      </xsd:simpleType>
    </xsd:element>
    <xsd:element name="Titokkorlát" ma:index="9" nillable="true" ma:displayName="Titokkorlát" ma:internalName="Titokkorl_x00e1_t">
      <xsd:simpleType>
        <xsd:restriction base="dms:Note">
          <xsd:maxLength value="255"/>
        </xsd:restriction>
      </xsd:simpleType>
    </xsd:element>
    <xsd:element name="SharedWithUsers" ma:index="10" nillable="true" ma:displayName="Résztvevők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itokgazda xmlns="eff08c82-ce1c-49bc-a1d0-41eac7de1a3e" xsi:nil="true"/>
    <Titokkorlát xmlns="eff08c82-ce1c-49bc-a1d0-41eac7de1a3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5DFB7F2-FFA8-4FF1-A2F0-0C14E1F910A4}"/>
</file>

<file path=customXml/itemProps2.xml><?xml version="1.0" encoding="utf-8"?>
<ds:datastoreItem xmlns:ds="http://schemas.openxmlformats.org/officeDocument/2006/customXml" ds:itemID="{4CDD7FFE-1C03-450F-95E1-0F6F6B0AEC56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2006/metadata/properties"/>
    <ds:schemaRef ds:uri="http://www.w3.org/XML/1998/namespace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B580B02-63E2-4DE3-AE1C-35D6C4719BB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03</TotalTime>
  <Words>292</Words>
  <Application>Microsoft Office PowerPoint</Application>
  <PresentationFormat>Egyéni</PresentationFormat>
  <Paragraphs>61</Paragraphs>
  <Slides>4</Slides>
  <Notes>3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7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4</vt:i4>
      </vt:variant>
    </vt:vector>
  </HeadingPairs>
  <TitlesOfParts>
    <vt:vector size="13" baseType="lpstr">
      <vt:lpstr>Arial</vt:lpstr>
      <vt:lpstr>TeleGrotesk Next</vt:lpstr>
      <vt:lpstr>Tele-GroteskEEUlt</vt:lpstr>
      <vt:lpstr>Tele-GroteskFet</vt:lpstr>
      <vt:lpstr>Tele-GroteskNor</vt:lpstr>
      <vt:lpstr>Tele-GroteskUlt</vt:lpstr>
      <vt:lpstr>Wingdings</vt:lpstr>
      <vt:lpstr>TSY_PPT_Master_16_9_E</vt:lpstr>
      <vt:lpstr>think-cell Folie</vt:lpstr>
      <vt:lpstr>PowerPoint-bemutató</vt:lpstr>
      <vt:lpstr>Ügyfélszolgálati automatizáció hatékonyan</vt:lpstr>
      <vt:lpstr>Vanda 2.0 from Conversational IVR to Intelligent Conversation</vt:lpstr>
      <vt:lpstr>További felhasználási lehetőségek Az ügyfélszolgálatokon túl…</vt:lpstr>
    </vt:vector>
  </TitlesOfParts>
  <Company>KFKI Zrt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GROTESK ULTRA TELEGROTESK REGULAR IN  24, 28, 32, 36, 40, 44, 48, 54, 60, 66 PT</dc:title>
  <dc:creator>nagyildiko</dc:creator>
  <cp:lastModifiedBy>Horváth Varga János</cp:lastModifiedBy>
  <cp:revision>30</cp:revision>
  <cp:lastPrinted>2012-09-04T09:22:48Z</cp:lastPrinted>
  <dcterms:created xsi:type="dcterms:W3CDTF">2013-03-25T08:45:10Z</dcterms:created>
  <dcterms:modified xsi:type="dcterms:W3CDTF">2022-06-03T12:57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e6170000000000010250600207f980073804f000</vt:lpwstr>
  </property>
  <property fmtid="{D5CDD505-2E9C-101B-9397-08002B2CF9AE}" pid="3" name="ContentTypeId">
    <vt:lpwstr>0x0101001B2CA6AEECBEE440AB36827970E8E2A5</vt:lpwstr>
  </property>
</Properties>
</file>